
<file path=[Content_Types].xml><?xml version="1.0" encoding="utf-8"?>
<Types xmlns="http://schemas.openxmlformats.org/package/2006/content-types">
  <Default Extension="jpeg" ContentType="image/jpeg"/>
  <Default Extension="mp3" ContentType="audio/m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1" r:id="rId2"/>
    <p:sldId id="256" r:id="rId3"/>
    <p:sldId id="258" r:id="rId4"/>
    <p:sldId id="257" r:id="rId5"/>
    <p:sldId id="259" r:id="rId6"/>
    <p:sldId id="260" r:id="rId7"/>
    <p:sldId id="262" r:id="rId8"/>
    <p:sldId id="263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06C6E81-29AD-46DB-BC12-93E651E6B523}">
          <p14:sldIdLst>
            <p14:sldId id="261"/>
            <p14:sldId id="256"/>
            <p14:sldId id="258"/>
            <p14:sldId id="257"/>
          </p14:sldIdLst>
        </p14:section>
        <p14:section name="Window Animation" id="{50E8700C-5E4E-44C6-81DB-B195BE8C0C63}">
          <p14:sldIdLst>
            <p14:sldId id="259"/>
          </p14:sldIdLst>
        </p14:section>
        <p14:section name="SFX" id="{58857E48-6F2B-4998-9776-CAFAA8DC089E}">
          <p14:sldIdLst>
            <p14:sldId id="260"/>
            <p14:sldId id="262"/>
            <p14:sldId id="2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>
        <p:scale>
          <a:sx n="32" d="100"/>
          <a:sy n="32" d="100"/>
        </p:scale>
        <p:origin x="1978" y="10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D3DF57-93E7-477D-87F1-4701D13CFEA7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MY"/>
        </a:p>
      </dgm:t>
    </dgm:pt>
    <dgm:pt modelId="{EFFFFA84-E192-4980-B663-EF75ABD47CCF}">
      <dgm:prSet/>
      <dgm:spPr/>
      <dgm:t>
        <a:bodyPr/>
        <a:lstStyle/>
        <a:p>
          <a:r>
            <a:rPr lang="en-MY"/>
            <a:t>Making the new center of rotation:</a:t>
          </a:r>
        </a:p>
      </dgm:t>
    </dgm:pt>
    <dgm:pt modelId="{06A69124-25F7-4212-B260-4BA1894CD985}" type="parTrans" cxnId="{A6ABC926-C8E1-4EB3-9F43-99B52202F3AB}">
      <dgm:prSet/>
      <dgm:spPr/>
      <dgm:t>
        <a:bodyPr/>
        <a:lstStyle/>
        <a:p>
          <a:endParaRPr lang="en-MY"/>
        </a:p>
      </dgm:t>
    </dgm:pt>
    <dgm:pt modelId="{36005D03-F5A7-40B4-B9BD-069E3D1CEF0B}" type="sibTrans" cxnId="{A6ABC926-C8E1-4EB3-9F43-99B52202F3AB}">
      <dgm:prSet/>
      <dgm:spPr/>
      <dgm:t>
        <a:bodyPr/>
        <a:lstStyle/>
        <a:p>
          <a:endParaRPr lang="en-MY"/>
        </a:p>
      </dgm:t>
    </dgm:pt>
    <dgm:pt modelId="{7E6D99C1-5B4D-4FF0-BDD4-CA584F3C2472}">
      <dgm:prSet/>
      <dgm:spPr/>
      <dgm:t>
        <a:bodyPr/>
        <a:lstStyle/>
        <a:p>
          <a:r>
            <a:rPr lang="en-MY" dirty="0"/>
            <a:t>Intersect the shape with the custom shape</a:t>
          </a:r>
        </a:p>
      </dgm:t>
    </dgm:pt>
    <dgm:pt modelId="{6D484192-83E5-49F4-A559-B76F04F2DAB6}" type="parTrans" cxnId="{AE6AA3B1-FA3B-4215-A0EE-AA6A76F3C727}">
      <dgm:prSet/>
      <dgm:spPr/>
      <dgm:t>
        <a:bodyPr/>
        <a:lstStyle/>
        <a:p>
          <a:endParaRPr lang="en-MY"/>
        </a:p>
      </dgm:t>
    </dgm:pt>
    <dgm:pt modelId="{64650838-0B90-4425-AD12-043A000A4233}" type="sibTrans" cxnId="{AE6AA3B1-FA3B-4215-A0EE-AA6A76F3C727}">
      <dgm:prSet/>
      <dgm:spPr/>
      <dgm:t>
        <a:bodyPr/>
        <a:lstStyle/>
        <a:p>
          <a:endParaRPr lang="en-MY"/>
        </a:p>
      </dgm:t>
    </dgm:pt>
    <dgm:pt modelId="{26DF9D28-AFC9-4B29-9893-781057158F4A}">
      <dgm:prSet/>
      <dgm:spPr/>
      <dgm:t>
        <a:bodyPr/>
        <a:lstStyle/>
        <a:p>
          <a:r>
            <a:rPr lang="en-MY" dirty="0"/>
            <a:t>Bring it to the centre, middle</a:t>
          </a:r>
        </a:p>
      </dgm:t>
    </dgm:pt>
    <dgm:pt modelId="{551440EC-F667-4DE3-B64D-F9906047D97C}" type="parTrans" cxnId="{1E78896A-702F-4278-86ED-B66035C38CB9}">
      <dgm:prSet/>
      <dgm:spPr/>
      <dgm:t>
        <a:bodyPr/>
        <a:lstStyle/>
        <a:p>
          <a:endParaRPr lang="en-MY"/>
        </a:p>
      </dgm:t>
    </dgm:pt>
    <dgm:pt modelId="{2EE972C3-3F86-47DE-9A04-57363CDB6E28}" type="sibTrans" cxnId="{1E78896A-702F-4278-86ED-B66035C38CB9}">
      <dgm:prSet/>
      <dgm:spPr/>
      <dgm:t>
        <a:bodyPr/>
        <a:lstStyle/>
        <a:p>
          <a:endParaRPr lang="en-MY"/>
        </a:p>
      </dgm:t>
    </dgm:pt>
    <dgm:pt modelId="{05104CF8-CDEE-4D9D-9721-0EAFBF22C9DC}">
      <dgm:prSet/>
      <dgm:spPr/>
      <dgm:t>
        <a:bodyPr/>
        <a:lstStyle/>
        <a:p>
          <a:r>
            <a:rPr lang="en-MY"/>
            <a:t>Create a circle big enough to cover it</a:t>
          </a:r>
        </a:p>
      </dgm:t>
    </dgm:pt>
    <dgm:pt modelId="{3E30BDBF-C46C-480F-AE7E-B15334EEFFE8}" type="parTrans" cxnId="{B7CD37B9-5669-479F-8203-82487839A5FA}">
      <dgm:prSet/>
      <dgm:spPr/>
      <dgm:t>
        <a:bodyPr/>
        <a:lstStyle/>
        <a:p>
          <a:endParaRPr lang="en-MY"/>
        </a:p>
      </dgm:t>
    </dgm:pt>
    <dgm:pt modelId="{52736FE8-340A-435C-83EF-A4F64F94FD6B}" type="sibTrans" cxnId="{B7CD37B9-5669-479F-8203-82487839A5FA}">
      <dgm:prSet/>
      <dgm:spPr/>
      <dgm:t>
        <a:bodyPr/>
        <a:lstStyle/>
        <a:p>
          <a:endParaRPr lang="en-MY"/>
        </a:p>
      </dgm:t>
    </dgm:pt>
    <dgm:pt modelId="{9EA1DC25-83FD-4E04-9CA5-F12B063C7434}">
      <dgm:prSet/>
      <dgm:spPr/>
      <dgm:t>
        <a:bodyPr/>
        <a:lstStyle/>
        <a:p>
          <a:r>
            <a:rPr lang="en-MY"/>
            <a:t>Make it no fill, center it and group them</a:t>
          </a:r>
        </a:p>
      </dgm:t>
    </dgm:pt>
    <dgm:pt modelId="{086EC5DC-A47C-4414-A4C2-606E29BAFDF4}" type="parTrans" cxnId="{F1FCECCE-CC14-425D-86FD-5A80EEBAEF11}">
      <dgm:prSet/>
      <dgm:spPr/>
      <dgm:t>
        <a:bodyPr/>
        <a:lstStyle/>
        <a:p>
          <a:endParaRPr lang="en-MY"/>
        </a:p>
      </dgm:t>
    </dgm:pt>
    <dgm:pt modelId="{6CC8BEC9-1B95-400D-92C3-07CBA19351FE}" type="sibTrans" cxnId="{F1FCECCE-CC14-425D-86FD-5A80EEBAEF11}">
      <dgm:prSet/>
      <dgm:spPr/>
      <dgm:t>
        <a:bodyPr/>
        <a:lstStyle/>
        <a:p>
          <a:endParaRPr lang="en-MY"/>
        </a:p>
      </dgm:t>
    </dgm:pt>
    <dgm:pt modelId="{326B64E6-2585-413B-AB98-2F0246DEA021}" type="pres">
      <dgm:prSet presAssocID="{E8D3DF57-93E7-477D-87F1-4701D13CFEA7}" presName="Name0" presStyleCnt="0">
        <dgm:presLayoutVars>
          <dgm:dir/>
          <dgm:resizeHandles val="exact"/>
        </dgm:presLayoutVars>
      </dgm:prSet>
      <dgm:spPr/>
    </dgm:pt>
    <dgm:pt modelId="{B9FB91E6-8881-4452-8B4C-BC4B4952927A}" type="pres">
      <dgm:prSet presAssocID="{EFFFFA84-E192-4980-B663-EF75ABD47CCF}" presName="node" presStyleLbl="node1" presStyleIdx="0" presStyleCnt="5">
        <dgm:presLayoutVars>
          <dgm:bulletEnabled val="1"/>
        </dgm:presLayoutVars>
      </dgm:prSet>
      <dgm:spPr/>
    </dgm:pt>
    <dgm:pt modelId="{BA434EFD-EB8B-4344-8C0F-72F1945197D3}" type="pres">
      <dgm:prSet presAssocID="{36005D03-F5A7-40B4-B9BD-069E3D1CEF0B}" presName="sibTrans" presStyleLbl="sibTrans2D1" presStyleIdx="0" presStyleCnt="4"/>
      <dgm:spPr/>
    </dgm:pt>
    <dgm:pt modelId="{C7405459-CF90-493D-AC1A-C0672F2B41AF}" type="pres">
      <dgm:prSet presAssocID="{36005D03-F5A7-40B4-B9BD-069E3D1CEF0B}" presName="connectorText" presStyleLbl="sibTrans2D1" presStyleIdx="0" presStyleCnt="4"/>
      <dgm:spPr/>
    </dgm:pt>
    <dgm:pt modelId="{2A59326D-B25B-4899-B5C5-973B344854C6}" type="pres">
      <dgm:prSet presAssocID="{7E6D99C1-5B4D-4FF0-BDD4-CA584F3C2472}" presName="node" presStyleLbl="node1" presStyleIdx="1" presStyleCnt="5">
        <dgm:presLayoutVars>
          <dgm:bulletEnabled val="1"/>
        </dgm:presLayoutVars>
      </dgm:prSet>
      <dgm:spPr/>
    </dgm:pt>
    <dgm:pt modelId="{C5726251-75A4-4104-9891-8FEDBBEFB0E9}" type="pres">
      <dgm:prSet presAssocID="{64650838-0B90-4425-AD12-043A000A4233}" presName="sibTrans" presStyleLbl="sibTrans2D1" presStyleIdx="1" presStyleCnt="4"/>
      <dgm:spPr/>
    </dgm:pt>
    <dgm:pt modelId="{9DE35F98-E2F2-4B97-87A2-6F9F9D913801}" type="pres">
      <dgm:prSet presAssocID="{64650838-0B90-4425-AD12-043A000A4233}" presName="connectorText" presStyleLbl="sibTrans2D1" presStyleIdx="1" presStyleCnt="4"/>
      <dgm:spPr/>
    </dgm:pt>
    <dgm:pt modelId="{53B0A076-1D86-41E2-BD96-C42A05633B32}" type="pres">
      <dgm:prSet presAssocID="{26DF9D28-AFC9-4B29-9893-781057158F4A}" presName="node" presStyleLbl="node1" presStyleIdx="2" presStyleCnt="5">
        <dgm:presLayoutVars>
          <dgm:bulletEnabled val="1"/>
        </dgm:presLayoutVars>
      </dgm:prSet>
      <dgm:spPr/>
    </dgm:pt>
    <dgm:pt modelId="{F8630485-0EDD-4E78-91DF-4908FA85B0B4}" type="pres">
      <dgm:prSet presAssocID="{2EE972C3-3F86-47DE-9A04-57363CDB6E28}" presName="sibTrans" presStyleLbl="sibTrans2D1" presStyleIdx="2" presStyleCnt="4"/>
      <dgm:spPr/>
    </dgm:pt>
    <dgm:pt modelId="{1CF33BBC-9952-46DC-89F3-5E46DD71B52C}" type="pres">
      <dgm:prSet presAssocID="{2EE972C3-3F86-47DE-9A04-57363CDB6E28}" presName="connectorText" presStyleLbl="sibTrans2D1" presStyleIdx="2" presStyleCnt="4"/>
      <dgm:spPr/>
    </dgm:pt>
    <dgm:pt modelId="{9CBD5C85-E82B-4AE9-BB81-C42C26ECC1AD}" type="pres">
      <dgm:prSet presAssocID="{05104CF8-CDEE-4D9D-9721-0EAFBF22C9DC}" presName="node" presStyleLbl="node1" presStyleIdx="3" presStyleCnt="5">
        <dgm:presLayoutVars>
          <dgm:bulletEnabled val="1"/>
        </dgm:presLayoutVars>
      </dgm:prSet>
      <dgm:spPr/>
    </dgm:pt>
    <dgm:pt modelId="{646B883E-B8E6-4478-817F-2E49FFD06E70}" type="pres">
      <dgm:prSet presAssocID="{52736FE8-340A-435C-83EF-A4F64F94FD6B}" presName="sibTrans" presStyleLbl="sibTrans2D1" presStyleIdx="3" presStyleCnt="4"/>
      <dgm:spPr/>
    </dgm:pt>
    <dgm:pt modelId="{A69068A3-CE69-48C9-AD00-DF91B605E1F3}" type="pres">
      <dgm:prSet presAssocID="{52736FE8-340A-435C-83EF-A4F64F94FD6B}" presName="connectorText" presStyleLbl="sibTrans2D1" presStyleIdx="3" presStyleCnt="4"/>
      <dgm:spPr/>
    </dgm:pt>
    <dgm:pt modelId="{198B8FA1-9B8F-4AB0-9421-B746D934E08E}" type="pres">
      <dgm:prSet presAssocID="{9EA1DC25-83FD-4E04-9CA5-F12B063C7434}" presName="node" presStyleLbl="node1" presStyleIdx="4" presStyleCnt="5">
        <dgm:presLayoutVars>
          <dgm:bulletEnabled val="1"/>
        </dgm:presLayoutVars>
      </dgm:prSet>
      <dgm:spPr/>
    </dgm:pt>
  </dgm:ptLst>
  <dgm:cxnLst>
    <dgm:cxn modelId="{F747FD04-56A3-41D0-81B3-555179C35F9D}" type="presOf" srcId="{52736FE8-340A-435C-83EF-A4F64F94FD6B}" destId="{A69068A3-CE69-48C9-AD00-DF91B605E1F3}" srcOrd="1" destOrd="0" presId="urn:microsoft.com/office/officeart/2005/8/layout/process1"/>
    <dgm:cxn modelId="{A8CD4F05-9E83-4A70-8C30-8CBAE96630FA}" type="presOf" srcId="{05104CF8-CDEE-4D9D-9721-0EAFBF22C9DC}" destId="{9CBD5C85-E82B-4AE9-BB81-C42C26ECC1AD}" srcOrd="0" destOrd="0" presId="urn:microsoft.com/office/officeart/2005/8/layout/process1"/>
    <dgm:cxn modelId="{07733112-CE09-4763-8DD8-3BB18F330B58}" type="presOf" srcId="{36005D03-F5A7-40B4-B9BD-069E3D1CEF0B}" destId="{C7405459-CF90-493D-AC1A-C0672F2B41AF}" srcOrd="1" destOrd="0" presId="urn:microsoft.com/office/officeart/2005/8/layout/process1"/>
    <dgm:cxn modelId="{F8795C1E-894C-49AF-9296-9C9FEB779BE3}" type="presOf" srcId="{26DF9D28-AFC9-4B29-9893-781057158F4A}" destId="{53B0A076-1D86-41E2-BD96-C42A05633B32}" srcOrd="0" destOrd="0" presId="urn:microsoft.com/office/officeart/2005/8/layout/process1"/>
    <dgm:cxn modelId="{A6ABC926-C8E1-4EB3-9F43-99B52202F3AB}" srcId="{E8D3DF57-93E7-477D-87F1-4701D13CFEA7}" destId="{EFFFFA84-E192-4980-B663-EF75ABD47CCF}" srcOrd="0" destOrd="0" parTransId="{06A69124-25F7-4212-B260-4BA1894CD985}" sibTransId="{36005D03-F5A7-40B4-B9BD-069E3D1CEF0B}"/>
    <dgm:cxn modelId="{50FA6D3A-0E2C-4870-879A-4EDBB40F532D}" type="presOf" srcId="{64650838-0B90-4425-AD12-043A000A4233}" destId="{9DE35F98-E2F2-4B97-87A2-6F9F9D913801}" srcOrd="1" destOrd="0" presId="urn:microsoft.com/office/officeart/2005/8/layout/process1"/>
    <dgm:cxn modelId="{0E98A243-7382-4D66-B955-05B3FF438BE4}" type="presOf" srcId="{52736FE8-340A-435C-83EF-A4F64F94FD6B}" destId="{646B883E-B8E6-4478-817F-2E49FFD06E70}" srcOrd="0" destOrd="0" presId="urn:microsoft.com/office/officeart/2005/8/layout/process1"/>
    <dgm:cxn modelId="{7372DD68-2286-48AF-9411-7E683F88AC3F}" type="presOf" srcId="{EFFFFA84-E192-4980-B663-EF75ABD47CCF}" destId="{B9FB91E6-8881-4452-8B4C-BC4B4952927A}" srcOrd="0" destOrd="0" presId="urn:microsoft.com/office/officeart/2005/8/layout/process1"/>
    <dgm:cxn modelId="{E17AA049-9742-49D0-ADF0-06BD67D52E50}" type="presOf" srcId="{36005D03-F5A7-40B4-B9BD-069E3D1CEF0B}" destId="{BA434EFD-EB8B-4344-8C0F-72F1945197D3}" srcOrd="0" destOrd="0" presId="urn:microsoft.com/office/officeart/2005/8/layout/process1"/>
    <dgm:cxn modelId="{1E78896A-702F-4278-86ED-B66035C38CB9}" srcId="{E8D3DF57-93E7-477D-87F1-4701D13CFEA7}" destId="{26DF9D28-AFC9-4B29-9893-781057158F4A}" srcOrd="2" destOrd="0" parTransId="{551440EC-F667-4DE3-B64D-F9906047D97C}" sibTransId="{2EE972C3-3F86-47DE-9A04-57363CDB6E28}"/>
    <dgm:cxn modelId="{818BDA72-9AF0-449F-B4B2-1B037E07F85B}" type="presOf" srcId="{2EE972C3-3F86-47DE-9A04-57363CDB6E28}" destId="{F8630485-0EDD-4E78-91DF-4908FA85B0B4}" srcOrd="0" destOrd="0" presId="urn:microsoft.com/office/officeart/2005/8/layout/process1"/>
    <dgm:cxn modelId="{9AF82A57-6259-4D85-B824-681A7B659935}" type="presOf" srcId="{7E6D99C1-5B4D-4FF0-BDD4-CA584F3C2472}" destId="{2A59326D-B25B-4899-B5C5-973B344854C6}" srcOrd="0" destOrd="0" presId="urn:microsoft.com/office/officeart/2005/8/layout/process1"/>
    <dgm:cxn modelId="{1475177B-C1F7-4540-8ECD-BFCD13BC35B4}" type="presOf" srcId="{9EA1DC25-83FD-4E04-9CA5-F12B063C7434}" destId="{198B8FA1-9B8F-4AB0-9421-B746D934E08E}" srcOrd="0" destOrd="0" presId="urn:microsoft.com/office/officeart/2005/8/layout/process1"/>
    <dgm:cxn modelId="{21105482-E9A5-45CB-B0A3-EB04C8561DEB}" type="presOf" srcId="{2EE972C3-3F86-47DE-9A04-57363CDB6E28}" destId="{1CF33BBC-9952-46DC-89F3-5E46DD71B52C}" srcOrd="1" destOrd="0" presId="urn:microsoft.com/office/officeart/2005/8/layout/process1"/>
    <dgm:cxn modelId="{1F40B09D-D901-409F-BDC4-C0ABBBA5A769}" type="presOf" srcId="{64650838-0B90-4425-AD12-043A000A4233}" destId="{C5726251-75A4-4104-9891-8FEDBBEFB0E9}" srcOrd="0" destOrd="0" presId="urn:microsoft.com/office/officeart/2005/8/layout/process1"/>
    <dgm:cxn modelId="{AE6AA3B1-FA3B-4215-A0EE-AA6A76F3C727}" srcId="{E8D3DF57-93E7-477D-87F1-4701D13CFEA7}" destId="{7E6D99C1-5B4D-4FF0-BDD4-CA584F3C2472}" srcOrd="1" destOrd="0" parTransId="{6D484192-83E5-49F4-A559-B76F04F2DAB6}" sibTransId="{64650838-0B90-4425-AD12-043A000A4233}"/>
    <dgm:cxn modelId="{B7CD37B9-5669-479F-8203-82487839A5FA}" srcId="{E8D3DF57-93E7-477D-87F1-4701D13CFEA7}" destId="{05104CF8-CDEE-4D9D-9721-0EAFBF22C9DC}" srcOrd="3" destOrd="0" parTransId="{3E30BDBF-C46C-480F-AE7E-B15334EEFFE8}" sibTransId="{52736FE8-340A-435C-83EF-A4F64F94FD6B}"/>
    <dgm:cxn modelId="{F1FCECCE-CC14-425D-86FD-5A80EEBAEF11}" srcId="{E8D3DF57-93E7-477D-87F1-4701D13CFEA7}" destId="{9EA1DC25-83FD-4E04-9CA5-F12B063C7434}" srcOrd="4" destOrd="0" parTransId="{086EC5DC-A47C-4414-A4C2-606E29BAFDF4}" sibTransId="{6CC8BEC9-1B95-400D-92C3-07CBA19351FE}"/>
    <dgm:cxn modelId="{35DD5BEB-1FBD-4117-9DFE-C7D19402839E}" type="presOf" srcId="{E8D3DF57-93E7-477D-87F1-4701D13CFEA7}" destId="{326B64E6-2585-413B-AB98-2F0246DEA021}" srcOrd="0" destOrd="0" presId="urn:microsoft.com/office/officeart/2005/8/layout/process1"/>
    <dgm:cxn modelId="{1169948C-AC97-48A9-8B1F-F2DF3AC0123F}" type="presParOf" srcId="{326B64E6-2585-413B-AB98-2F0246DEA021}" destId="{B9FB91E6-8881-4452-8B4C-BC4B4952927A}" srcOrd="0" destOrd="0" presId="urn:microsoft.com/office/officeart/2005/8/layout/process1"/>
    <dgm:cxn modelId="{7F448095-6049-4ACF-8EFD-D1927BDE225D}" type="presParOf" srcId="{326B64E6-2585-413B-AB98-2F0246DEA021}" destId="{BA434EFD-EB8B-4344-8C0F-72F1945197D3}" srcOrd="1" destOrd="0" presId="urn:microsoft.com/office/officeart/2005/8/layout/process1"/>
    <dgm:cxn modelId="{D4B01468-6173-46A2-94FC-4D47BF8C65C8}" type="presParOf" srcId="{BA434EFD-EB8B-4344-8C0F-72F1945197D3}" destId="{C7405459-CF90-493D-AC1A-C0672F2B41AF}" srcOrd="0" destOrd="0" presId="urn:microsoft.com/office/officeart/2005/8/layout/process1"/>
    <dgm:cxn modelId="{A00E76C4-46E6-4590-809D-3EE8A838A00A}" type="presParOf" srcId="{326B64E6-2585-413B-AB98-2F0246DEA021}" destId="{2A59326D-B25B-4899-B5C5-973B344854C6}" srcOrd="2" destOrd="0" presId="urn:microsoft.com/office/officeart/2005/8/layout/process1"/>
    <dgm:cxn modelId="{6AE31D37-9CB2-4A9D-8642-18EA6916B1E2}" type="presParOf" srcId="{326B64E6-2585-413B-AB98-2F0246DEA021}" destId="{C5726251-75A4-4104-9891-8FEDBBEFB0E9}" srcOrd="3" destOrd="0" presId="urn:microsoft.com/office/officeart/2005/8/layout/process1"/>
    <dgm:cxn modelId="{FABE4545-507E-4563-916E-BD78D9D279D3}" type="presParOf" srcId="{C5726251-75A4-4104-9891-8FEDBBEFB0E9}" destId="{9DE35F98-E2F2-4B97-87A2-6F9F9D913801}" srcOrd="0" destOrd="0" presId="urn:microsoft.com/office/officeart/2005/8/layout/process1"/>
    <dgm:cxn modelId="{97530A14-EA8C-4D23-8523-FF34E02F3ACB}" type="presParOf" srcId="{326B64E6-2585-413B-AB98-2F0246DEA021}" destId="{53B0A076-1D86-41E2-BD96-C42A05633B32}" srcOrd="4" destOrd="0" presId="urn:microsoft.com/office/officeart/2005/8/layout/process1"/>
    <dgm:cxn modelId="{3B580C28-C1CB-48E3-9305-73FC1941F6B4}" type="presParOf" srcId="{326B64E6-2585-413B-AB98-2F0246DEA021}" destId="{F8630485-0EDD-4E78-91DF-4908FA85B0B4}" srcOrd="5" destOrd="0" presId="urn:microsoft.com/office/officeart/2005/8/layout/process1"/>
    <dgm:cxn modelId="{DB314E27-E9E7-495F-9946-4B8920AD80C7}" type="presParOf" srcId="{F8630485-0EDD-4E78-91DF-4908FA85B0B4}" destId="{1CF33BBC-9952-46DC-89F3-5E46DD71B52C}" srcOrd="0" destOrd="0" presId="urn:microsoft.com/office/officeart/2005/8/layout/process1"/>
    <dgm:cxn modelId="{C34338A4-A0F7-4409-9E72-6F0BD62AB634}" type="presParOf" srcId="{326B64E6-2585-413B-AB98-2F0246DEA021}" destId="{9CBD5C85-E82B-4AE9-BB81-C42C26ECC1AD}" srcOrd="6" destOrd="0" presId="urn:microsoft.com/office/officeart/2005/8/layout/process1"/>
    <dgm:cxn modelId="{7F595E88-6684-434D-9316-E4AA5E2B493B}" type="presParOf" srcId="{326B64E6-2585-413B-AB98-2F0246DEA021}" destId="{646B883E-B8E6-4478-817F-2E49FFD06E70}" srcOrd="7" destOrd="0" presId="urn:microsoft.com/office/officeart/2005/8/layout/process1"/>
    <dgm:cxn modelId="{C37421AF-C61B-49AD-B457-79CEA6E779DC}" type="presParOf" srcId="{646B883E-B8E6-4478-817F-2E49FFD06E70}" destId="{A69068A3-CE69-48C9-AD00-DF91B605E1F3}" srcOrd="0" destOrd="0" presId="urn:microsoft.com/office/officeart/2005/8/layout/process1"/>
    <dgm:cxn modelId="{05A7107B-9353-4CD1-9501-92D6430235FD}" type="presParOf" srcId="{326B64E6-2585-413B-AB98-2F0246DEA021}" destId="{198B8FA1-9B8F-4AB0-9421-B746D934E08E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FB91E6-8881-4452-8B4C-BC4B4952927A}">
      <dsp:nvSpPr>
        <dsp:cNvPr id="0" name=""/>
        <dsp:cNvSpPr/>
      </dsp:nvSpPr>
      <dsp:spPr>
        <a:xfrm>
          <a:off x="2553" y="560391"/>
          <a:ext cx="791491" cy="11495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MY" sz="1200" kern="1200"/>
            <a:t>Making the new center of rotation:</a:t>
          </a:r>
        </a:p>
      </dsp:txBody>
      <dsp:txXfrm>
        <a:off x="25735" y="583573"/>
        <a:ext cx="745127" cy="1103177"/>
      </dsp:txXfrm>
    </dsp:sp>
    <dsp:sp modelId="{BA434EFD-EB8B-4344-8C0F-72F1945197D3}">
      <dsp:nvSpPr>
        <dsp:cNvPr id="0" name=""/>
        <dsp:cNvSpPr/>
      </dsp:nvSpPr>
      <dsp:spPr>
        <a:xfrm>
          <a:off x="873193" y="1037017"/>
          <a:ext cx="167796" cy="1962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MY" sz="800" kern="1200"/>
        </a:p>
      </dsp:txBody>
      <dsp:txXfrm>
        <a:off x="873193" y="1076275"/>
        <a:ext cx="117457" cy="117773"/>
      </dsp:txXfrm>
    </dsp:sp>
    <dsp:sp modelId="{2A59326D-B25B-4899-B5C5-973B344854C6}">
      <dsp:nvSpPr>
        <dsp:cNvPr id="0" name=""/>
        <dsp:cNvSpPr/>
      </dsp:nvSpPr>
      <dsp:spPr>
        <a:xfrm>
          <a:off x="1110640" y="560391"/>
          <a:ext cx="791491" cy="11495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MY" sz="1200" kern="1200" dirty="0"/>
            <a:t>Intersect the shape with the custom shape</a:t>
          </a:r>
        </a:p>
      </dsp:txBody>
      <dsp:txXfrm>
        <a:off x="1133822" y="583573"/>
        <a:ext cx="745127" cy="1103177"/>
      </dsp:txXfrm>
    </dsp:sp>
    <dsp:sp modelId="{C5726251-75A4-4104-9891-8FEDBBEFB0E9}">
      <dsp:nvSpPr>
        <dsp:cNvPr id="0" name=""/>
        <dsp:cNvSpPr/>
      </dsp:nvSpPr>
      <dsp:spPr>
        <a:xfrm>
          <a:off x="1981280" y="1037017"/>
          <a:ext cx="167796" cy="1962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MY" sz="800" kern="1200"/>
        </a:p>
      </dsp:txBody>
      <dsp:txXfrm>
        <a:off x="1981280" y="1076275"/>
        <a:ext cx="117457" cy="117773"/>
      </dsp:txXfrm>
    </dsp:sp>
    <dsp:sp modelId="{53B0A076-1D86-41E2-BD96-C42A05633B32}">
      <dsp:nvSpPr>
        <dsp:cNvPr id="0" name=""/>
        <dsp:cNvSpPr/>
      </dsp:nvSpPr>
      <dsp:spPr>
        <a:xfrm>
          <a:off x="2218727" y="560391"/>
          <a:ext cx="791491" cy="11495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MY" sz="1200" kern="1200" dirty="0"/>
            <a:t>Bring it to the centre, middle</a:t>
          </a:r>
        </a:p>
      </dsp:txBody>
      <dsp:txXfrm>
        <a:off x="2241909" y="583573"/>
        <a:ext cx="745127" cy="1103177"/>
      </dsp:txXfrm>
    </dsp:sp>
    <dsp:sp modelId="{F8630485-0EDD-4E78-91DF-4908FA85B0B4}">
      <dsp:nvSpPr>
        <dsp:cNvPr id="0" name=""/>
        <dsp:cNvSpPr/>
      </dsp:nvSpPr>
      <dsp:spPr>
        <a:xfrm>
          <a:off x="3089368" y="1037017"/>
          <a:ext cx="167796" cy="1962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MY" sz="800" kern="1200"/>
        </a:p>
      </dsp:txBody>
      <dsp:txXfrm>
        <a:off x="3089368" y="1076275"/>
        <a:ext cx="117457" cy="117773"/>
      </dsp:txXfrm>
    </dsp:sp>
    <dsp:sp modelId="{9CBD5C85-E82B-4AE9-BB81-C42C26ECC1AD}">
      <dsp:nvSpPr>
        <dsp:cNvPr id="0" name=""/>
        <dsp:cNvSpPr/>
      </dsp:nvSpPr>
      <dsp:spPr>
        <a:xfrm>
          <a:off x="3326815" y="560391"/>
          <a:ext cx="791491" cy="11495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MY" sz="1200" kern="1200"/>
            <a:t>Create a circle big enough to cover it</a:t>
          </a:r>
        </a:p>
      </dsp:txBody>
      <dsp:txXfrm>
        <a:off x="3349997" y="583573"/>
        <a:ext cx="745127" cy="1103177"/>
      </dsp:txXfrm>
    </dsp:sp>
    <dsp:sp modelId="{646B883E-B8E6-4478-817F-2E49FFD06E70}">
      <dsp:nvSpPr>
        <dsp:cNvPr id="0" name=""/>
        <dsp:cNvSpPr/>
      </dsp:nvSpPr>
      <dsp:spPr>
        <a:xfrm>
          <a:off x="4197455" y="1037017"/>
          <a:ext cx="167796" cy="1962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MY" sz="800" kern="1200"/>
        </a:p>
      </dsp:txBody>
      <dsp:txXfrm>
        <a:off x="4197455" y="1076275"/>
        <a:ext cx="117457" cy="117773"/>
      </dsp:txXfrm>
    </dsp:sp>
    <dsp:sp modelId="{198B8FA1-9B8F-4AB0-9421-B746D934E08E}">
      <dsp:nvSpPr>
        <dsp:cNvPr id="0" name=""/>
        <dsp:cNvSpPr/>
      </dsp:nvSpPr>
      <dsp:spPr>
        <a:xfrm>
          <a:off x="4434902" y="560391"/>
          <a:ext cx="791491" cy="11495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MY" sz="1200" kern="1200"/>
            <a:t>Make it no fill, center it and group them</a:t>
          </a:r>
        </a:p>
      </dsp:txBody>
      <dsp:txXfrm>
        <a:off x="4458084" y="583573"/>
        <a:ext cx="745127" cy="11031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3C1D3-9BD1-5E6D-CF13-161C4F1BAA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7E5C2D-578E-7D4A-0CD1-83FF5AD56C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03DBF1-940E-A211-1A6D-E487C083BC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A5D25C-99F0-D2F5-505B-E708AFBA0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0542FB-6BCC-D06D-856E-6BA8A2F42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5529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EB695-BBB7-392F-D6D2-0CF19F5DF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86450E-79BD-6CB4-772F-5F27AECB5A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C5C742-57C2-622B-5478-F88147A08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2C5997-BE64-DDEE-2DF6-24D12041F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F7F6-CBA7-5D08-E753-E73A91E73F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7742511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BA358A-0D4E-C6CF-7E37-94EF6A1886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DB1F9F-41E6-99BF-65A3-FC9F6663B3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2D7667-4C57-AC35-922D-2826B84E0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6CC39-9BC5-B850-918C-22C9DE0C5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0920BB-1B3F-A064-4AB0-F9E28749E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1086503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5996A-567C-13A4-B203-7C4F51049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83ADF5-04F6-BAE9-5DCA-54C5E80EBB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BBA383-801E-497C-8326-B99485380E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4E4638-7DC9-D5BF-E892-DA241DEBB3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097A1B-3100-B582-6C08-2D1FFEDAB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25007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5799E8-0E74-5E6A-369E-096003EFE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1568D8-C181-A02E-07FD-2C77A1E454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54B387-5463-18FC-9999-1B17A4D51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593703-DAB2-38D0-3FD3-C32112761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9119A0-D265-27A2-B395-7D36B40D5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393592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9AE63-DB3E-600B-B91D-EA635CF1D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57BB3A-ED1D-4D35-C418-11A752269F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2A8C88-06C4-F8EC-821C-EA4B1D845D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2C3EF4-13E4-48D8-8240-302D79545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1BE2ED-C2AE-162F-5AAF-ECF7690DB0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9DBF98-0227-4767-67C5-8E543CC18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3853651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51BF3E-C953-EDFD-AE66-00AA1DAB0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D7A962-7911-798C-CD87-8F3DA6A9A0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63C378-FC4A-908E-7A40-0C85FBC7AF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98CC77-A260-5649-0614-51C0088ADC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454F7F-45E4-BD71-0506-94A26D5E2D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ACC9A52-4CD9-C67B-4A48-5DDB8C8FDE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950869-FB9A-E11E-2558-8DFCB16BE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5B0E7D-038B-7A30-2B4F-7487F8E8B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7480984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B2BBE-2E0F-1CDB-CA9F-2D4B05E86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E5A1AF-AB81-2600-A0CF-7F63F5EE9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4FAA35-BDA2-4154-393B-2EFAD7D83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8D1276-8949-0CBB-8F2D-67F2F913F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860209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24BA8F-7945-37B6-B69F-E0F4239F5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D74A70-454E-D3F4-23BE-18D2E5259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B9D80D-B4C5-EDFF-FCAC-0DEF3C748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7573214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1F652-2E40-958E-4FF5-E2FF233531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EFF80B-61C4-580A-9C96-FF35B8B898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0B753B-326F-EDF9-5455-78DF8C2121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9374D0-343C-FC2E-E593-39BBE9B3E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0E28B1-BC53-F758-6E90-E7B2309E5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349ECA-D075-28F6-DA14-B5A27AAA9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236675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FAD98-5D1F-49DB-8B80-0A199C70E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4EDABE-3B9B-1E32-57F9-FB8E1CFCA7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BC1C2E-BADF-682F-FD99-E0CCBB4DF6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9AA467-DC07-9753-E959-A18C67BC1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6F242C-D957-449E-0C50-9D69AF964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1DC738-2FF7-ED0C-C461-C7B7088EE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523781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E5D6EAF-F7C1-F346-D85D-4A5F1BD18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A0D3C4-42DC-CFF9-17D0-79975B6BD7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50B029-3751-E042-DCF3-B941FF733A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BA0E199-0576-414B-BCFA-38D88BF8D5B0}" type="datetimeFigureOut">
              <a:rPr lang="en-MY" smtClean="0"/>
              <a:t>11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5F557-CF88-8457-8CAD-25947164D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015164-27F0-437B-9683-2013B28087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01F7173-FF81-4F13-A783-656F102FCF7F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215828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microsoft.com/office/2007/relationships/media" Target="../media/media1.mp3"/><Relationship Id="rId1" Type="http://schemas.openxmlformats.org/officeDocument/2006/relationships/audio" Target="NULL" TargetMode="Externa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microsoft.com/office/2007/relationships/media" Target="../media/media2.mp3"/><Relationship Id="rId1" Type="http://schemas.openxmlformats.org/officeDocument/2006/relationships/audio" Target="NULL" TargetMode="Externa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media" Target="../media/media3.mp3"/><Relationship Id="rId2" Type="http://schemas.microsoft.com/office/2007/relationships/media" Target="../media/media2.mp3"/><Relationship Id="rId1" Type="http://schemas.openxmlformats.org/officeDocument/2006/relationships/audio" Target="NULL" TargetMode="Externa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yellow taxi car with black and white stripes&#10;&#10;Description automatically generated">
            <a:extLst>
              <a:ext uri="{FF2B5EF4-FFF2-40B4-BE49-F238E27FC236}">
                <a16:creationId xmlns:a16="http://schemas.microsoft.com/office/drawing/2014/main" id="{E6A5E80F-D52F-A5EB-8252-109E0CF317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1534" y="658761"/>
            <a:ext cx="2828932" cy="5540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521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yellow taxi car with black and white stripes&#10;&#10;Description automatically generated">
            <a:extLst>
              <a:ext uri="{FF2B5EF4-FFF2-40B4-BE49-F238E27FC236}">
                <a16:creationId xmlns:a16="http://schemas.microsoft.com/office/drawing/2014/main" id="{E6A5E80F-D52F-A5EB-8252-109E0CF317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1534" y="658761"/>
            <a:ext cx="2828932" cy="5540478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90EA815-4B56-D299-05AB-67ADF72B4C56}"/>
              </a:ext>
            </a:extLst>
          </p:cNvPr>
          <p:cNvSpPr/>
          <p:nvPr/>
        </p:nvSpPr>
        <p:spPr>
          <a:xfrm>
            <a:off x="4216893" y="2627790"/>
            <a:ext cx="1145220" cy="1154097"/>
          </a:xfrm>
          <a:custGeom>
            <a:avLst/>
            <a:gdLst>
              <a:gd name="connsiteX0" fmla="*/ 0 w 1145220"/>
              <a:gd name="connsiteY0" fmla="*/ 0 h 1154097"/>
              <a:gd name="connsiteX1" fmla="*/ 0 w 1145220"/>
              <a:gd name="connsiteY1" fmla="*/ 0 h 1154097"/>
              <a:gd name="connsiteX2" fmla="*/ 577049 w 1145220"/>
              <a:gd name="connsiteY2" fmla="*/ 35511 h 1154097"/>
              <a:gd name="connsiteX3" fmla="*/ 958789 w 1145220"/>
              <a:gd name="connsiteY3" fmla="*/ 35511 h 1154097"/>
              <a:gd name="connsiteX4" fmla="*/ 1136342 w 1145220"/>
              <a:gd name="connsiteY4" fmla="*/ 559293 h 1154097"/>
              <a:gd name="connsiteX5" fmla="*/ 1145220 w 1145220"/>
              <a:gd name="connsiteY5" fmla="*/ 1154097 h 1154097"/>
              <a:gd name="connsiteX6" fmla="*/ 630315 w 1145220"/>
              <a:gd name="connsiteY6" fmla="*/ 1154097 h 1154097"/>
              <a:gd name="connsiteX7" fmla="*/ 0 w 1145220"/>
              <a:gd name="connsiteY7" fmla="*/ 0 h 1154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5220" h="1154097">
                <a:moveTo>
                  <a:pt x="0" y="0"/>
                </a:moveTo>
                <a:lnTo>
                  <a:pt x="0" y="0"/>
                </a:lnTo>
                <a:cubicBezTo>
                  <a:pt x="182624" y="13045"/>
                  <a:pt x="419370" y="30479"/>
                  <a:pt x="577049" y="35511"/>
                </a:cubicBezTo>
                <a:cubicBezTo>
                  <a:pt x="704231" y="39570"/>
                  <a:pt x="831542" y="35511"/>
                  <a:pt x="958789" y="35511"/>
                </a:cubicBezTo>
                <a:lnTo>
                  <a:pt x="1136342" y="559293"/>
                </a:lnTo>
                <a:lnTo>
                  <a:pt x="1145220" y="1154097"/>
                </a:lnTo>
                <a:lnTo>
                  <a:pt x="630315" y="115409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7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7114333-864D-4156-589D-F46DD147F974}"/>
              </a:ext>
            </a:extLst>
          </p:cNvPr>
          <p:cNvSpPr/>
          <p:nvPr/>
        </p:nvSpPr>
        <p:spPr>
          <a:xfrm flipH="1">
            <a:off x="6829887" y="2627789"/>
            <a:ext cx="1145220" cy="1154097"/>
          </a:xfrm>
          <a:custGeom>
            <a:avLst/>
            <a:gdLst>
              <a:gd name="connsiteX0" fmla="*/ 0 w 1145220"/>
              <a:gd name="connsiteY0" fmla="*/ 0 h 1154097"/>
              <a:gd name="connsiteX1" fmla="*/ 0 w 1145220"/>
              <a:gd name="connsiteY1" fmla="*/ 0 h 1154097"/>
              <a:gd name="connsiteX2" fmla="*/ 577049 w 1145220"/>
              <a:gd name="connsiteY2" fmla="*/ 35511 h 1154097"/>
              <a:gd name="connsiteX3" fmla="*/ 958789 w 1145220"/>
              <a:gd name="connsiteY3" fmla="*/ 35511 h 1154097"/>
              <a:gd name="connsiteX4" fmla="*/ 1136342 w 1145220"/>
              <a:gd name="connsiteY4" fmla="*/ 559293 h 1154097"/>
              <a:gd name="connsiteX5" fmla="*/ 1145220 w 1145220"/>
              <a:gd name="connsiteY5" fmla="*/ 1154097 h 1154097"/>
              <a:gd name="connsiteX6" fmla="*/ 630315 w 1145220"/>
              <a:gd name="connsiteY6" fmla="*/ 1154097 h 1154097"/>
              <a:gd name="connsiteX7" fmla="*/ 0 w 1145220"/>
              <a:gd name="connsiteY7" fmla="*/ 0 h 1154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5220" h="1154097">
                <a:moveTo>
                  <a:pt x="0" y="0"/>
                </a:moveTo>
                <a:lnTo>
                  <a:pt x="0" y="0"/>
                </a:lnTo>
                <a:cubicBezTo>
                  <a:pt x="182624" y="13045"/>
                  <a:pt x="419370" y="30479"/>
                  <a:pt x="577049" y="35511"/>
                </a:cubicBezTo>
                <a:cubicBezTo>
                  <a:pt x="704231" y="39570"/>
                  <a:pt x="831542" y="35511"/>
                  <a:pt x="958789" y="35511"/>
                </a:cubicBezTo>
                <a:lnTo>
                  <a:pt x="1136342" y="559293"/>
                </a:lnTo>
                <a:lnTo>
                  <a:pt x="1145220" y="1154097"/>
                </a:lnTo>
                <a:lnTo>
                  <a:pt x="630315" y="115409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7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964834C-779D-9E8E-1C92-24FE48F10E2C}"/>
              </a:ext>
            </a:extLst>
          </p:cNvPr>
          <p:cNvSpPr/>
          <p:nvPr/>
        </p:nvSpPr>
        <p:spPr>
          <a:xfrm flipV="1">
            <a:off x="4296791" y="3817396"/>
            <a:ext cx="1065321" cy="1473689"/>
          </a:xfrm>
          <a:custGeom>
            <a:avLst/>
            <a:gdLst>
              <a:gd name="connsiteX0" fmla="*/ 0 w 1145220"/>
              <a:gd name="connsiteY0" fmla="*/ 0 h 1154097"/>
              <a:gd name="connsiteX1" fmla="*/ 0 w 1145220"/>
              <a:gd name="connsiteY1" fmla="*/ 0 h 1154097"/>
              <a:gd name="connsiteX2" fmla="*/ 577049 w 1145220"/>
              <a:gd name="connsiteY2" fmla="*/ 35511 h 1154097"/>
              <a:gd name="connsiteX3" fmla="*/ 958789 w 1145220"/>
              <a:gd name="connsiteY3" fmla="*/ 35511 h 1154097"/>
              <a:gd name="connsiteX4" fmla="*/ 1136342 w 1145220"/>
              <a:gd name="connsiteY4" fmla="*/ 559293 h 1154097"/>
              <a:gd name="connsiteX5" fmla="*/ 1145220 w 1145220"/>
              <a:gd name="connsiteY5" fmla="*/ 1154097 h 1154097"/>
              <a:gd name="connsiteX6" fmla="*/ 630315 w 1145220"/>
              <a:gd name="connsiteY6" fmla="*/ 1154097 h 1154097"/>
              <a:gd name="connsiteX7" fmla="*/ 0 w 1145220"/>
              <a:gd name="connsiteY7" fmla="*/ 0 h 1154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5220" h="1154097">
                <a:moveTo>
                  <a:pt x="0" y="0"/>
                </a:moveTo>
                <a:lnTo>
                  <a:pt x="0" y="0"/>
                </a:lnTo>
                <a:cubicBezTo>
                  <a:pt x="182624" y="13045"/>
                  <a:pt x="419370" y="30479"/>
                  <a:pt x="577049" y="35511"/>
                </a:cubicBezTo>
                <a:cubicBezTo>
                  <a:pt x="704231" y="39570"/>
                  <a:pt x="831542" y="35511"/>
                  <a:pt x="958789" y="35511"/>
                </a:cubicBezTo>
                <a:lnTo>
                  <a:pt x="1136342" y="559293"/>
                </a:lnTo>
                <a:lnTo>
                  <a:pt x="1145220" y="1154097"/>
                </a:lnTo>
                <a:lnTo>
                  <a:pt x="630315" y="115409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7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1FD728E-3C5E-8A52-9EC2-5703533FAAEF}"/>
              </a:ext>
            </a:extLst>
          </p:cNvPr>
          <p:cNvSpPr/>
          <p:nvPr/>
        </p:nvSpPr>
        <p:spPr>
          <a:xfrm flipH="1" flipV="1">
            <a:off x="6829887" y="3817396"/>
            <a:ext cx="1065321" cy="1473689"/>
          </a:xfrm>
          <a:custGeom>
            <a:avLst/>
            <a:gdLst>
              <a:gd name="connsiteX0" fmla="*/ 0 w 1145220"/>
              <a:gd name="connsiteY0" fmla="*/ 0 h 1154097"/>
              <a:gd name="connsiteX1" fmla="*/ 0 w 1145220"/>
              <a:gd name="connsiteY1" fmla="*/ 0 h 1154097"/>
              <a:gd name="connsiteX2" fmla="*/ 577049 w 1145220"/>
              <a:gd name="connsiteY2" fmla="*/ 35511 h 1154097"/>
              <a:gd name="connsiteX3" fmla="*/ 958789 w 1145220"/>
              <a:gd name="connsiteY3" fmla="*/ 35511 h 1154097"/>
              <a:gd name="connsiteX4" fmla="*/ 1136342 w 1145220"/>
              <a:gd name="connsiteY4" fmla="*/ 559293 h 1154097"/>
              <a:gd name="connsiteX5" fmla="*/ 1145220 w 1145220"/>
              <a:gd name="connsiteY5" fmla="*/ 1154097 h 1154097"/>
              <a:gd name="connsiteX6" fmla="*/ 630315 w 1145220"/>
              <a:gd name="connsiteY6" fmla="*/ 1154097 h 1154097"/>
              <a:gd name="connsiteX7" fmla="*/ 0 w 1145220"/>
              <a:gd name="connsiteY7" fmla="*/ 0 h 1154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5220" h="1154097">
                <a:moveTo>
                  <a:pt x="0" y="0"/>
                </a:moveTo>
                <a:lnTo>
                  <a:pt x="0" y="0"/>
                </a:lnTo>
                <a:cubicBezTo>
                  <a:pt x="182624" y="13045"/>
                  <a:pt x="419370" y="30479"/>
                  <a:pt x="577049" y="35511"/>
                </a:cubicBezTo>
                <a:cubicBezTo>
                  <a:pt x="704231" y="39570"/>
                  <a:pt x="831542" y="35511"/>
                  <a:pt x="958789" y="35511"/>
                </a:cubicBezTo>
                <a:lnTo>
                  <a:pt x="1136342" y="559293"/>
                </a:lnTo>
                <a:lnTo>
                  <a:pt x="1145220" y="1154097"/>
                </a:lnTo>
                <a:lnTo>
                  <a:pt x="630315" y="115409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7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1678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06226C9-8CE3-8DE4-C586-E16E534FD1E4}"/>
              </a:ext>
            </a:extLst>
          </p:cNvPr>
          <p:cNvGrpSpPr/>
          <p:nvPr/>
        </p:nvGrpSpPr>
        <p:grpSpPr>
          <a:xfrm>
            <a:off x="9225899" y="450119"/>
            <a:ext cx="2750400" cy="2750400"/>
            <a:chOff x="4720799" y="2053800"/>
            <a:chExt cx="2750400" cy="2750400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BD7E3EA2-5878-B13C-C4C7-F09BDC84BFF6}"/>
                </a:ext>
              </a:extLst>
            </p:cNvPr>
            <p:cNvSpPr/>
            <p:nvPr/>
          </p:nvSpPr>
          <p:spPr>
            <a:xfrm>
              <a:off x="4720799" y="2053800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solidFill>
                <a:schemeClr val="accent1">
                  <a:shade val="1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2" name="Picture 1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D549171D-B21F-D629-7F4C-02523CDEF1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090" r="75942" b="43631"/>
            <a:stretch>
              <a:fillRect/>
            </a:stretch>
          </p:blipFill>
          <p:spPr>
            <a:xfrm>
              <a:off x="5755710" y="3429000"/>
              <a:ext cx="680579" cy="1123594"/>
            </a:xfrm>
            <a:custGeom>
              <a:avLst/>
              <a:gdLst>
                <a:gd name="connsiteX0" fmla="*/ 0 w 680579"/>
                <a:gd name="connsiteY0" fmla="*/ 0 h 1123594"/>
                <a:gd name="connsiteX1" fmla="*/ 112408 w 680579"/>
                <a:gd name="connsiteY1" fmla="*/ 5008 h 1123594"/>
                <a:gd name="connsiteX2" fmla="*/ 494148 w 680579"/>
                <a:gd name="connsiteY2" fmla="*/ 5008 h 1123594"/>
                <a:gd name="connsiteX3" fmla="*/ 671701 w 680579"/>
                <a:gd name="connsiteY3" fmla="*/ 528790 h 1123594"/>
                <a:gd name="connsiteX4" fmla="*/ 680579 w 680579"/>
                <a:gd name="connsiteY4" fmla="*/ 1123594 h 1123594"/>
                <a:gd name="connsiteX5" fmla="*/ 165674 w 680579"/>
                <a:gd name="connsiteY5" fmla="*/ 1123594 h 1123594"/>
                <a:gd name="connsiteX6" fmla="*/ 0 w 680579"/>
                <a:gd name="connsiteY6" fmla="*/ 820248 h 112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579" h="1123594">
                  <a:moveTo>
                    <a:pt x="0" y="0"/>
                  </a:moveTo>
                  <a:lnTo>
                    <a:pt x="112408" y="5008"/>
                  </a:lnTo>
                  <a:cubicBezTo>
                    <a:pt x="239590" y="9067"/>
                    <a:pt x="366901" y="5008"/>
                    <a:pt x="494148" y="5008"/>
                  </a:cubicBezTo>
                  <a:lnTo>
                    <a:pt x="671701" y="528790"/>
                  </a:lnTo>
                  <a:lnTo>
                    <a:pt x="680579" y="1123594"/>
                  </a:lnTo>
                  <a:lnTo>
                    <a:pt x="165674" y="1123594"/>
                  </a:lnTo>
                  <a:lnTo>
                    <a:pt x="0" y="820248"/>
                  </a:lnTo>
                  <a:close/>
                </a:path>
              </a:pathLst>
            </a:custGeom>
          </p:spPr>
        </p:pic>
      </p:grp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53F2ED44-0F4D-B038-45B2-9CAA7493EA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215999"/>
              </p:ext>
            </p:extLst>
          </p:nvPr>
        </p:nvGraphicFramePr>
        <p:xfrm>
          <a:off x="1305018" y="215424"/>
          <a:ext cx="5228947" cy="22703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A6221AE6-5D3B-5E68-AF8F-E7824E28502B}"/>
              </a:ext>
            </a:extLst>
          </p:cNvPr>
          <p:cNvGrpSpPr/>
          <p:nvPr/>
        </p:nvGrpSpPr>
        <p:grpSpPr>
          <a:xfrm>
            <a:off x="9140400" y="3624943"/>
            <a:ext cx="2750400" cy="2750400"/>
            <a:chOff x="4720800" y="2485748"/>
            <a:chExt cx="2750400" cy="27504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6E80CFD-A995-0EFA-7A58-E1DFEFDABF92}"/>
                </a:ext>
              </a:extLst>
            </p:cNvPr>
            <p:cNvSpPr/>
            <p:nvPr/>
          </p:nvSpPr>
          <p:spPr>
            <a:xfrm>
              <a:off x="4720800" y="2485748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solidFill>
                <a:schemeClr val="accent1">
                  <a:shade val="1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8" name="Picture 7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0C257EAA-9315-726F-5DD8-8E4114BAC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010" r="75942" b="17030"/>
            <a:stretch>
              <a:fillRect/>
            </a:stretch>
          </p:blipFill>
          <p:spPr>
            <a:xfrm>
              <a:off x="5662672" y="3429000"/>
              <a:ext cx="680578" cy="1438291"/>
            </a:xfrm>
            <a:custGeom>
              <a:avLst/>
              <a:gdLst>
                <a:gd name="connsiteX0" fmla="*/ 201597 w 680578"/>
                <a:gd name="connsiteY0" fmla="*/ 0 h 1438291"/>
                <a:gd name="connsiteX1" fmla="*/ 680578 w 680578"/>
                <a:gd name="connsiteY1" fmla="*/ 0 h 1438291"/>
                <a:gd name="connsiteX2" fmla="*/ 672320 w 680578"/>
                <a:gd name="connsiteY2" fmla="*/ 759517 h 1438291"/>
                <a:gd name="connsiteX3" fmla="*/ 507154 w 680578"/>
                <a:gd name="connsiteY3" fmla="*/ 1428345 h 1438291"/>
                <a:gd name="connsiteX4" fmla="*/ 152047 w 680578"/>
                <a:gd name="connsiteY4" fmla="*/ 1428345 h 1438291"/>
                <a:gd name="connsiteX5" fmla="*/ 30184 w 680578"/>
                <a:gd name="connsiteY5" fmla="*/ 1435798 h 1438291"/>
                <a:gd name="connsiteX6" fmla="*/ 0 w 680578"/>
                <a:gd name="connsiteY6" fmla="*/ 1438291 h 1438291"/>
                <a:gd name="connsiteX7" fmla="*/ 0 w 680578"/>
                <a:gd name="connsiteY7" fmla="*/ 506687 h 14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578" h="1438291">
                  <a:moveTo>
                    <a:pt x="201597" y="0"/>
                  </a:moveTo>
                  <a:lnTo>
                    <a:pt x="680578" y="0"/>
                  </a:lnTo>
                  <a:lnTo>
                    <a:pt x="672320" y="759517"/>
                  </a:lnTo>
                  <a:lnTo>
                    <a:pt x="507154" y="1428345"/>
                  </a:lnTo>
                  <a:cubicBezTo>
                    <a:pt x="388785" y="1428345"/>
                    <a:pt x="270356" y="1423162"/>
                    <a:pt x="152047" y="1428345"/>
                  </a:cubicBezTo>
                  <a:cubicBezTo>
                    <a:pt x="115378" y="1429951"/>
                    <a:pt x="74111" y="1432547"/>
                    <a:pt x="30184" y="1435798"/>
                  </a:cubicBezTo>
                  <a:lnTo>
                    <a:pt x="0" y="1438291"/>
                  </a:lnTo>
                  <a:lnTo>
                    <a:pt x="0" y="506687"/>
                  </a:lnTo>
                  <a:close/>
                </a:path>
              </a:pathLst>
            </a:cu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5543E20-0C52-4B3B-BB74-119E507C25C5}"/>
              </a:ext>
            </a:extLst>
          </p:cNvPr>
          <p:cNvGrpSpPr/>
          <p:nvPr/>
        </p:nvGrpSpPr>
        <p:grpSpPr>
          <a:xfrm>
            <a:off x="6854400" y="450119"/>
            <a:ext cx="2750400" cy="2750400"/>
            <a:chOff x="4720800" y="2053800"/>
            <a:chExt cx="2750400" cy="275040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D82E15-E6C1-A3EC-30F2-87ED1D264120}"/>
                </a:ext>
              </a:extLst>
            </p:cNvPr>
            <p:cNvSpPr/>
            <p:nvPr/>
          </p:nvSpPr>
          <p:spPr>
            <a:xfrm>
              <a:off x="4720800" y="2053800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solidFill>
                <a:schemeClr val="accent1">
                  <a:shade val="1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1" name="Picture 10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4CD20211-D1F4-4B1C-5335-135296E166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42" t="36090" b="43631"/>
            <a:stretch>
              <a:fillRect/>
            </a:stretch>
          </p:blipFill>
          <p:spPr>
            <a:xfrm>
              <a:off x="5755710" y="3429000"/>
              <a:ext cx="680579" cy="1123594"/>
            </a:xfrm>
            <a:custGeom>
              <a:avLst/>
              <a:gdLst>
                <a:gd name="connsiteX0" fmla="*/ 680579 w 680579"/>
                <a:gd name="connsiteY0" fmla="*/ 0 h 1123594"/>
                <a:gd name="connsiteX1" fmla="*/ 680579 w 680579"/>
                <a:gd name="connsiteY1" fmla="*/ 820248 h 1123594"/>
                <a:gd name="connsiteX2" fmla="*/ 514905 w 680579"/>
                <a:gd name="connsiteY2" fmla="*/ 1123594 h 1123594"/>
                <a:gd name="connsiteX3" fmla="*/ 0 w 680579"/>
                <a:gd name="connsiteY3" fmla="*/ 1123594 h 1123594"/>
                <a:gd name="connsiteX4" fmla="*/ 8878 w 680579"/>
                <a:gd name="connsiteY4" fmla="*/ 528790 h 1123594"/>
                <a:gd name="connsiteX5" fmla="*/ 186431 w 680579"/>
                <a:gd name="connsiteY5" fmla="*/ 5008 h 1123594"/>
                <a:gd name="connsiteX6" fmla="*/ 568171 w 680579"/>
                <a:gd name="connsiteY6" fmla="*/ 5008 h 112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579" h="1123594">
                  <a:moveTo>
                    <a:pt x="680579" y="0"/>
                  </a:moveTo>
                  <a:lnTo>
                    <a:pt x="680579" y="820248"/>
                  </a:lnTo>
                  <a:lnTo>
                    <a:pt x="514905" y="1123594"/>
                  </a:lnTo>
                  <a:lnTo>
                    <a:pt x="0" y="1123594"/>
                  </a:lnTo>
                  <a:lnTo>
                    <a:pt x="8878" y="528790"/>
                  </a:lnTo>
                  <a:lnTo>
                    <a:pt x="186431" y="5008"/>
                  </a:lnTo>
                  <a:cubicBezTo>
                    <a:pt x="313678" y="5008"/>
                    <a:pt x="440989" y="9067"/>
                    <a:pt x="568171" y="5008"/>
                  </a:cubicBezTo>
                  <a:close/>
                </a:path>
              </a:pathLst>
            </a:cu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1DFED62-AC68-53E0-EF34-3485FB989249}"/>
              </a:ext>
            </a:extLst>
          </p:cNvPr>
          <p:cNvGrpSpPr/>
          <p:nvPr/>
        </p:nvGrpSpPr>
        <p:grpSpPr>
          <a:xfrm>
            <a:off x="4543864" y="3192995"/>
            <a:ext cx="2750400" cy="2750400"/>
            <a:chOff x="4720800" y="2266012"/>
            <a:chExt cx="2750400" cy="275040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AAB9696-3B46-DEE9-7D8A-E6FCF51FF687}"/>
                </a:ext>
              </a:extLst>
            </p:cNvPr>
            <p:cNvSpPr/>
            <p:nvPr/>
          </p:nvSpPr>
          <p:spPr>
            <a:xfrm>
              <a:off x="4720800" y="2266012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solidFill>
                <a:schemeClr val="accent1">
                  <a:shade val="1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4" name="Picture 13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7B678FCA-F9B5-DF68-F94A-994617B5D0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42" t="57010" b="17030"/>
            <a:stretch>
              <a:fillRect/>
            </a:stretch>
          </p:blipFill>
          <p:spPr>
            <a:xfrm>
              <a:off x="5853386" y="3429000"/>
              <a:ext cx="680579" cy="1438291"/>
            </a:xfrm>
            <a:custGeom>
              <a:avLst/>
              <a:gdLst>
                <a:gd name="connsiteX0" fmla="*/ 0 w 680579"/>
                <a:gd name="connsiteY0" fmla="*/ 0 h 1438291"/>
                <a:gd name="connsiteX1" fmla="*/ 478982 w 680579"/>
                <a:gd name="connsiteY1" fmla="*/ 0 h 1438291"/>
                <a:gd name="connsiteX2" fmla="*/ 680579 w 680579"/>
                <a:gd name="connsiteY2" fmla="*/ 506690 h 1438291"/>
                <a:gd name="connsiteX3" fmla="*/ 680579 w 680579"/>
                <a:gd name="connsiteY3" fmla="*/ 1438291 h 1438291"/>
                <a:gd name="connsiteX4" fmla="*/ 650395 w 680579"/>
                <a:gd name="connsiteY4" fmla="*/ 1435798 h 1438291"/>
                <a:gd name="connsiteX5" fmla="*/ 528531 w 680579"/>
                <a:gd name="connsiteY5" fmla="*/ 1428345 h 1438291"/>
                <a:gd name="connsiteX6" fmla="*/ 173424 w 680579"/>
                <a:gd name="connsiteY6" fmla="*/ 1428345 h 1438291"/>
                <a:gd name="connsiteX7" fmla="*/ 8259 w 680579"/>
                <a:gd name="connsiteY7" fmla="*/ 759517 h 14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579" h="1438291">
                  <a:moveTo>
                    <a:pt x="0" y="0"/>
                  </a:moveTo>
                  <a:lnTo>
                    <a:pt x="478982" y="0"/>
                  </a:lnTo>
                  <a:lnTo>
                    <a:pt x="680579" y="506690"/>
                  </a:lnTo>
                  <a:lnTo>
                    <a:pt x="680579" y="1438291"/>
                  </a:lnTo>
                  <a:lnTo>
                    <a:pt x="650395" y="1435798"/>
                  </a:lnTo>
                  <a:cubicBezTo>
                    <a:pt x="606467" y="1432547"/>
                    <a:pt x="565201" y="1429951"/>
                    <a:pt x="528531" y="1428345"/>
                  </a:cubicBezTo>
                  <a:cubicBezTo>
                    <a:pt x="410223" y="1423162"/>
                    <a:pt x="291794" y="1428345"/>
                    <a:pt x="173424" y="1428345"/>
                  </a:cubicBezTo>
                  <a:lnTo>
                    <a:pt x="8259" y="759517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23958658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CA49452-5C6D-61BA-BF6B-4C313E5334CA}"/>
              </a:ext>
            </a:extLst>
          </p:cNvPr>
          <p:cNvSpPr/>
          <p:nvPr/>
        </p:nvSpPr>
        <p:spPr>
          <a:xfrm>
            <a:off x="5003400" y="2166151"/>
            <a:ext cx="2185200" cy="3265200"/>
          </a:xfrm>
          <a:prstGeom prst="rect">
            <a:avLst/>
          </a:prstGeom>
          <a:solidFill>
            <a:srgbClr val="2E2E2E"/>
          </a:solidFill>
          <a:ln w="889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pic>
        <p:nvPicPr>
          <p:cNvPr id="3" name="Picture 2" descr="A yellow taxi car with black and white stripes&#10;&#10;Description automatically generated">
            <a:extLst>
              <a:ext uri="{FF2B5EF4-FFF2-40B4-BE49-F238E27FC236}">
                <a16:creationId xmlns:a16="http://schemas.microsoft.com/office/drawing/2014/main" id="{07D5D46A-9678-4615-639D-BAEEC2648B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1534" y="658761"/>
            <a:ext cx="2828932" cy="5540478"/>
          </a:xfrm>
          <a:custGeom>
            <a:avLst/>
            <a:gdLst>
              <a:gd name="connsiteX0" fmla="*/ 0 w 2828932"/>
              <a:gd name="connsiteY0" fmla="*/ 0 h 5540478"/>
              <a:gd name="connsiteX1" fmla="*/ 2828932 w 2828932"/>
              <a:gd name="connsiteY1" fmla="*/ 0 h 5540478"/>
              <a:gd name="connsiteX2" fmla="*/ 2828932 w 2828932"/>
              <a:gd name="connsiteY2" fmla="*/ 1999530 h 5540478"/>
              <a:gd name="connsiteX3" fmla="*/ 2716524 w 2828932"/>
              <a:gd name="connsiteY3" fmla="*/ 2004538 h 5540478"/>
              <a:gd name="connsiteX4" fmla="*/ 2334784 w 2828932"/>
              <a:gd name="connsiteY4" fmla="*/ 2004538 h 5540478"/>
              <a:gd name="connsiteX5" fmla="*/ 2157231 w 2828932"/>
              <a:gd name="connsiteY5" fmla="*/ 2528320 h 5540478"/>
              <a:gd name="connsiteX6" fmla="*/ 2148353 w 2828932"/>
              <a:gd name="connsiteY6" fmla="*/ 3123124 h 5540478"/>
              <a:gd name="connsiteX7" fmla="*/ 2663258 w 2828932"/>
              <a:gd name="connsiteY7" fmla="*/ 3123124 h 5540478"/>
              <a:gd name="connsiteX8" fmla="*/ 2828932 w 2828932"/>
              <a:gd name="connsiteY8" fmla="*/ 2819778 h 5540478"/>
              <a:gd name="connsiteX9" fmla="*/ 2828932 w 2828932"/>
              <a:gd name="connsiteY9" fmla="*/ 3665323 h 5540478"/>
              <a:gd name="connsiteX10" fmla="*/ 2627335 w 2828932"/>
              <a:gd name="connsiteY10" fmla="*/ 3158634 h 5540478"/>
              <a:gd name="connsiteX11" fmla="*/ 2148353 w 2828932"/>
              <a:gd name="connsiteY11" fmla="*/ 3158634 h 5540478"/>
              <a:gd name="connsiteX12" fmla="*/ 2156612 w 2828932"/>
              <a:gd name="connsiteY12" fmla="*/ 3918151 h 5540478"/>
              <a:gd name="connsiteX13" fmla="*/ 2321777 w 2828932"/>
              <a:gd name="connsiteY13" fmla="*/ 4586979 h 5540478"/>
              <a:gd name="connsiteX14" fmla="*/ 2676884 w 2828932"/>
              <a:gd name="connsiteY14" fmla="*/ 4586979 h 5540478"/>
              <a:gd name="connsiteX15" fmla="*/ 2798748 w 2828932"/>
              <a:gd name="connsiteY15" fmla="*/ 4594432 h 5540478"/>
              <a:gd name="connsiteX16" fmla="*/ 2828932 w 2828932"/>
              <a:gd name="connsiteY16" fmla="*/ 4596925 h 5540478"/>
              <a:gd name="connsiteX17" fmla="*/ 2828932 w 2828932"/>
              <a:gd name="connsiteY17" fmla="*/ 5540478 h 5540478"/>
              <a:gd name="connsiteX18" fmla="*/ 0 w 2828932"/>
              <a:gd name="connsiteY18" fmla="*/ 5540478 h 5540478"/>
              <a:gd name="connsiteX19" fmla="*/ 0 w 2828932"/>
              <a:gd name="connsiteY19" fmla="*/ 4596925 h 5540478"/>
              <a:gd name="connsiteX20" fmla="*/ 30184 w 2828932"/>
              <a:gd name="connsiteY20" fmla="*/ 4594432 h 5540478"/>
              <a:gd name="connsiteX21" fmla="*/ 152047 w 2828932"/>
              <a:gd name="connsiteY21" fmla="*/ 4586979 h 5540478"/>
              <a:gd name="connsiteX22" fmla="*/ 507154 w 2828932"/>
              <a:gd name="connsiteY22" fmla="*/ 4586979 h 5540478"/>
              <a:gd name="connsiteX23" fmla="*/ 672320 w 2828932"/>
              <a:gd name="connsiteY23" fmla="*/ 3918151 h 5540478"/>
              <a:gd name="connsiteX24" fmla="*/ 680578 w 2828932"/>
              <a:gd name="connsiteY24" fmla="*/ 3158634 h 5540478"/>
              <a:gd name="connsiteX25" fmla="*/ 201597 w 2828932"/>
              <a:gd name="connsiteY25" fmla="*/ 3158634 h 5540478"/>
              <a:gd name="connsiteX26" fmla="*/ 0 w 2828932"/>
              <a:gd name="connsiteY26" fmla="*/ 3665322 h 5540478"/>
              <a:gd name="connsiteX27" fmla="*/ 0 w 2828932"/>
              <a:gd name="connsiteY27" fmla="*/ 2819779 h 5540478"/>
              <a:gd name="connsiteX28" fmla="*/ 165674 w 2828932"/>
              <a:gd name="connsiteY28" fmla="*/ 3123125 h 5540478"/>
              <a:gd name="connsiteX29" fmla="*/ 680579 w 2828932"/>
              <a:gd name="connsiteY29" fmla="*/ 3123125 h 5540478"/>
              <a:gd name="connsiteX30" fmla="*/ 671701 w 2828932"/>
              <a:gd name="connsiteY30" fmla="*/ 2528321 h 5540478"/>
              <a:gd name="connsiteX31" fmla="*/ 494148 w 2828932"/>
              <a:gd name="connsiteY31" fmla="*/ 2004539 h 5540478"/>
              <a:gd name="connsiteX32" fmla="*/ 112408 w 2828932"/>
              <a:gd name="connsiteY32" fmla="*/ 2004539 h 5540478"/>
              <a:gd name="connsiteX33" fmla="*/ 0 w 2828932"/>
              <a:gd name="connsiteY33" fmla="*/ 1999531 h 5540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2828932" h="5540478">
                <a:moveTo>
                  <a:pt x="0" y="0"/>
                </a:moveTo>
                <a:lnTo>
                  <a:pt x="2828932" y="0"/>
                </a:lnTo>
                <a:lnTo>
                  <a:pt x="2828932" y="1999530"/>
                </a:lnTo>
                <a:lnTo>
                  <a:pt x="2716524" y="2004538"/>
                </a:lnTo>
                <a:cubicBezTo>
                  <a:pt x="2589342" y="2008597"/>
                  <a:pt x="2462031" y="2004538"/>
                  <a:pt x="2334784" y="2004538"/>
                </a:cubicBezTo>
                <a:lnTo>
                  <a:pt x="2157231" y="2528320"/>
                </a:lnTo>
                <a:lnTo>
                  <a:pt x="2148353" y="3123124"/>
                </a:lnTo>
                <a:lnTo>
                  <a:pt x="2663258" y="3123124"/>
                </a:lnTo>
                <a:lnTo>
                  <a:pt x="2828932" y="2819778"/>
                </a:lnTo>
                <a:lnTo>
                  <a:pt x="2828932" y="3665323"/>
                </a:lnTo>
                <a:lnTo>
                  <a:pt x="2627335" y="3158634"/>
                </a:lnTo>
                <a:lnTo>
                  <a:pt x="2148353" y="3158634"/>
                </a:lnTo>
                <a:lnTo>
                  <a:pt x="2156612" y="3918151"/>
                </a:lnTo>
                <a:lnTo>
                  <a:pt x="2321777" y="4586979"/>
                </a:lnTo>
                <a:cubicBezTo>
                  <a:pt x="2440147" y="4586979"/>
                  <a:pt x="2558576" y="4581796"/>
                  <a:pt x="2676884" y="4586979"/>
                </a:cubicBezTo>
                <a:cubicBezTo>
                  <a:pt x="2713554" y="4588585"/>
                  <a:pt x="2754821" y="4591182"/>
                  <a:pt x="2798748" y="4594432"/>
                </a:cubicBezTo>
                <a:lnTo>
                  <a:pt x="2828932" y="4596925"/>
                </a:lnTo>
                <a:lnTo>
                  <a:pt x="2828932" y="5540478"/>
                </a:lnTo>
                <a:lnTo>
                  <a:pt x="0" y="5540478"/>
                </a:lnTo>
                <a:lnTo>
                  <a:pt x="0" y="4596925"/>
                </a:lnTo>
                <a:lnTo>
                  <a:pt x="30184" y="4594432"/>
                </a:lnTo>
                <a:cubicBezTo>
                  <a:pt x="74111" y="4591182"/>
                  <a:pt x="115378" y="4588585"/>
                  <a:pt x="152047" y="4586979"/>
                </a:cubicBezTo>
                <a:cubicBezTo>
                  <a:pt x="270356" y="4581796"/>
                  <a:pt x="388785" y="4586979"/>
                  <a:pt x="507154" y="4586979"/>
                </a:cubicBezTo>
                <a:lnTo>
                  <a:pt x="672320" y="3918151"/>
                </a:lnTo>
                <a:lnTo>
                  <a:pt x="680578" y="3158634"/>
                </a:lnTo>
                <a:lnTo>
                  <a:pt x="201597" y="3158634"/>
                </a:lnTo>
                <a:lnTo>
                  <a:pt x="0" y="3665322"/>
                </a:lnTo>
                <a:lnTo>
                  <a:pt x="0" y="2819779"/>
                </a:lnTo>
                <a:lnTo>
                  <a:pt x="165674" y="3123125"/>
                </a:lnTo>
                <a:lnTo>
                  <a:pt x="680579" y="3123125"/>
                </a:lnTo>
                <a:lnTo>
                  <a:pt x="671701" y="2528321"/>
                </a:lnTo>
                <a:lnTo>
                  <a:pt x="494148" y="2004539"/>
                </a:lnTo>
                <a:cubicBezTo>
                  <a:pt x="366901" y="2004539"/>
                  <a:pt x="239590" y="2008598"/>
                  <a:pt x="112408" y="2004539"/>
                </a:cubicBezTo>
                <a:lnTo>
                  <a:pt x="0" y="1999531"/>
                </a:lnTo>
                <a:close/>
              </a:path>
            </a:pathLst>
          </a:custGeom>
        </p:spPr>
      </p:pic>
      <p:grpSp>
        <p:nvGrpSpPr>
          <p:cNvPr id="6" name="TopLeft">
            <a:extLst>
              <a:ext uri="{FF2B5EF4-FFF2-40B4-BE49-F238E27FC236}">
                <a16:creationId xmlns:a16="http://schemas.microsoft.com/office/drawing/2014/main" id="{A6E666F1-B5B2-3002-FF0B-DC8826DCC49F}"/>
              </a:ext>
            </a:extLst>
          </p:cNvPr>
          <p:cNvGrpSpPr/>
          <p:nvPr/>
        </p:nvGrpSpPr>
        <p:grpSpPr>
          <a:xfrm>
            <a:off x="3645954" y="1293794"/>
            <a:ext cx="2750400" cy="2750400"/>
            <a:chOff x="4720799" y="2053800"/>
            <a:chExt cx="2750400" cy="275040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187E951-8163-0509-D40D-5CA740FB500D}"/>
                </a:ext>
              </a:extLst>
            </p:cNvPr>
            <p:cNvSpPr/>
            <p:nvPr/>
          </p:nvSpPr>
          <p:spPr>
            <a:xfrm>
              <a:off x="4720799" y="2053800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8" name="Picture 7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EAC57B9B-C96C-800D-8FE2-F70E137B5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090" r="75942" b="43631"/>
            <a:stretch>
              <a:fillRect/>
            </a:stretch>
          </p:blipFill>
          <p:spPr>
            <a:xfrm>
              <a:off x="5755710" y="3420122"/>
              <a:ext cx="680579" cy="1123594"/>
            </a:xfrm>
            <a:custGeom>
              <a:avLst/>
              <a:gdLst>
                <a:gd name="connsiteX0" fmla="*/ 0 w 680579"/>
                <a:gd name="connsiteY0" fmla="*/ 0 h 1123594"/>
                <a:gd name="connsiteX1" fmla="*/ 112408 w 680579"/>
                <a:gd name="connsiteY1" fmla="*/ 5008 h 1123594"/>
                <a:gd name="connsiteX2" fmla="*/ 494148 w 680579"/>
                <a:gd name="connsiteY2" fmla="*/ 5008 h 1123594"/>
                <a:gd name="connsiteX3" fmla="*/ 671701 w 680579"/>
                <a:gd name="connsiteY3" fmla="*/ 528790 h 1123594"/>
                <a:gd name="connsiteX4" fmla="*/ 680579 w 680579"/>
                <a:gd name="connsiteY4" fmla="*/ 1123594 h 1123594"/>
                <a:gd name="connsiteX5" fmla="*/ 165674 w 680579"/>
                <a:gd name="connsiteY5" fmla="*/ 1123594 h 1123594"/>
                <a:gd name="connsiteX6" fmla="*/ 0 w 680579"/>
                <a:gd name="connsiteY6" fmla="*/ 820248 h 112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579" h="1123594">
                  <a:moveTo>
                    <a:pt x="0" y="0"/>
                  </a:moveTo>
                  <a:lnTo>
                    <a:pt x="112408" y="5008"/>
                  </a:lnTo>
                  <a:cubicBezTo>
                    <a:pt x="239590" y="9067"/>
                    <a:pt x="366901" y="5008"/>
                    <a:pt x="494148" y="5008"/>
                  </a:cubicBezTo>
                  <a:lnTo>
                    <a:pt x="671701" y="528790"/>
                  </a:lnTo>
                  <a:lnTo>
                    <a:pt x="680579" y="1123594"/>
                  </a:lnTo>
                  <a:lnTo>
                    <a:pt x="165674" y="1123594"/>
                  </a:lnTo>
                  <a:lnTo>
                    <a:pt x="0" y="820248"/>
                  </a:lnTo>
                  <a:close/>
                </a:path>
              </a:pathLst>
            </a:custGeom>
          </p:spPr>
        </p:pic>
      </p:grpSp>
      <p:grpSp>
        <p:nvGrpSpPr>
          <p:cNvPr id="9" name="BottomLeft">
            <a:extLst>
              <a:ext uri="{FF2B5EF4-FFF2-40B4-BE49-F238E27FC236}">
                <a16:creationId xmlns:a16="http://schemas.microsoft.com/office/drawing/2014/main" id="{AB3CAD78-16FE-2BE5-F7FA-A2157CD561B9}"/>
              </a:ext>
            </a:extLst>
          </p:cNvPr>
          <p:cNvGrpSpPr/>
          <p:nvPr/>
        </p:nvGrpSpPr>
        <p:grpSpPr>
          <a:xfrm>
            <a:off x="3741085" y="2880703"/>
            <a:ext cx="2750400" cy="2750400"/>
            <a:chOff x="4720800" y="2485748"/>
            <a:chExt cx="2750400" cy="27504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0C984BE-3146-99D2-575D-4723FA85B4E5}"/>
                </a:ext>
              </a:extLst>
            </p:cNvPr>
            <p:cNvSpPr/>
            <p:nvPr/>
          </p:nvSpPr>
          <p:spPr>
            <a:xfrm>
              <a:off x="4720800" y="2485748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1" name="Picture 10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770E54BA-2C5F-4C69-7AC2-42BE60155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010" r="75942" b="17030"/>
            <a:stretch>
              <a:fillRect/>
            </a:stretch>
          </p:blipFill>
          <p:spPr>
            <a:xfrm>
              <a:off x="5662672" y="3429000"/>
              <a:ext cx="680578" cy="1438291"/>
            </a:xfrm>
            <a:custGeom>
              <a:avLst/>
              <a:gdLst>
                <a:gd name="connsiteX0" fmla="*/ 201597 w 680578"/>
                <a:gd name="connsiteY0" fmla="*/ 0 h 1438291"/>
                <a:gd name="connsiteX1" fmla="*/ 680578 w 680578"/>
                <a:gd name="connsiteY1" fmla="*/ 0 h 1438291"/>
                <a:gd name="connsiteX2" fmla="*/ 672320 w 680578"/>
                <a:gd name="connsiteY2" fmla="*/ 759517 h 1438291"/>
                <a:gd name="connsiteX3" fmla="*/ 507154 w 680578"/>
                <a:gd name="connsiteY3" fmla="*/ 1428345 h 1438291"/>
                <a:gd name="connsiteX4" fmla="*/ 152047 w 680578"/>
                <a:gd name="connsiteY4" fmla="*/ 1428345 h 1438291"/>
                <a:gd name="connsiteX5" fmla="*/ 30184 w 680578"/>
                <a:gd name="connsiteY5" fmla="*/ 1435798 h 1438291"/>
                <a:gd name="connsiteX6" fmla="*/ 0 w 680578"/>
                <a:gd name="connsiteY6" fmla="*/ 1438291 h 1438291"/>
                <a:gd name="connsiteX7" fmla="*/ 0 w 680578"/>
                <a:gd name="connsiteY7" fmla="*/ 506687 h 14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578" h="1438291">
                  <a:moveTo>
                    <a:pt x="201597" y="0"/>
                  </a:moveTo>
                  <a:lnTo>
                    <a:pt x="680578" y="0"/>
                  </a:lnTo>
                  <a:lnTo>
                    <a:pt x="672320" y="759517"/>
                  </a:lnTo>
                  <a:lnTo>
                    <a:pt x="507154" y="1428345"/>
                  </a:lnTo>
                  <a:cubicBezTo>
                    <a:pt x="388785" y="1428345"/>
                    <a:pt x="270356" y="1423162"/>
                    <a:pt x="152047" y="1428345"/>
                  </a:cubicBezTo>
                  <a:cubicBezTo>
                    <a:pt x="115378" y="1429951"/>
                    <a:pt x="74111" y="1432547"/>
                    <a:pt x="30184" y="1435798"/>
                  </a:cubicBezTo>
                  <a:lnTo>
                    <a:pt x="0" y="1438291"/>
                  </a:lnTo>
                  <a:lnTo>
                    <a:pt x="0" y="506687"/>
                  </a:lnTo>
                  <a:close/>
                </a:path>
              </a:pathLst>
            </a:custGeom>
          </p:spPr>
        </p:pic>
      </p:grpSp>
      <p:grpSp>
        <p:nvGrpSpPr>
          <p:cNvPr id="12" name="TopRight">
            <a:extLst>
              <a:ext uri="{FF2B5EF4-FFF2-40B4-BE49-F238E27FC236}">
                <a16:creationId xmlns:a16="http://schemas.microsoft.com/office/drawing/2014/main" id="{B05A34B3-F6D5-38B6-17E6-3DE7A2DD8C74}"/>
              </a:ext>
            </a:extLst>
          </p:cNvPr>
          <p:cNvGrpSpPr/>
          <p:nvPr/>
        </p:nvGrpSpPr>
        <p:grpSpPr>
          <a:xfrm>
            <a:off x="5795646" y="1284916"/>
            <a:ext cx="2750400" cy="2750400"/>
            <a:chOff x="4720800" y="2053800"/>
            <a:chExt cx="2750400" cy="27504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D639D3D-BDA8-15F1-D275-789F6F857CB3}"/>
                </a:ext>
              </a:extLst>
            </p:cNvPr>
            <p:cNvSpPr/>
            <p:nvPr/>
          </p:nvSpPr>
          <p:spPr>
            <a:xfrm>
              <a:off x="4720800" y="2053800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4" name="Picture 13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564B3971-FE67-1C38-DDA7-F879EE06A4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42" t="36090" b="43631"/>
            <a:stretch>
              <a:fillRect/>
            </a:stretch>
          </p:blipFill>
          <p:spPr>
            <a:xfrm>
              <a:off x="5755710" y="3429000"/>
              <a:ext cx="680579" cy="1123594"/>
            </a:xfrm>
            <a:custGeom>
              <a:avLst/>
              <a:gdLst>
                <a:gd name="connsiteX0" fmla="*/ 680579 w 680579"/>
                <a:gd name="connsiteY0" fmla="*/ 0 h 1123594"/>
                <a:gd name="connsiteX1" fmla="*/ 680579 w 680579"/>
                <a:gd name="connsiteY1" fmla="*/ 820248 h 1123594"/>
                <a:gd name="connsiteX2" fmla="*/ 514905 w 680579"/>
                <a:gd name="connsiteY2" fmla="*/ 1123594 h 1123594"/>
                <a:gd name="connsiteX3" fmla="*/ 0 w 680579"/>
                <a:gd name="connsiteY3" fmla="*/ 1123594 h 1123594"/>
                <a:gd name="connsiteX4" fmla="*/ 8878 w 680579"/>
                <a:gd name="connsiteY4" fmla="*/ 528790 h 1123594"/>
                <a:gd name="connsiteX5" fmla="*/ 186431 w 680579"/>
                <a:gd name="connsiteY5" fmla="*/ 5008 h 1123594"/>
                <a:gd name="connsiteX6" fmla="*/ 568171 w 680579"/>
                <a:gd name="connsiteY6" fmla="*/ 5008 h 112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579" h="1123594">
                  <a:moveTo>
                    <a:pt x="680579" y="0"/>
                  </a:moveTo>
                  <a:lnTo>
                    <a:pt x="680579" y="820248"/>
                  </a:lnTo>
                  <a:lnTo>
                    <a:pt x="514905" y="1123594"/>
                  </a:lnTo>
                  <a:lnTo>
                    <a:pt x="0" y="1123594"/>
                  </a:lnTo>
                  <a:lnTo>
                    <a:pt x="8878" y="528790"/>
                  </a:lnTo>
                  <a:lnTo>
                    <a:pt x="186431" y="5008"/>
                  </a:lnTo>
                  <a:cubicBezTo>
                    <a:pt x="313678" y="5008"/>
                    <a:pt x="440989" y="9067"/>
                    <a:pt x="568171" y="5008"/>
                  </a:cubicBezTo>
                  <a:close/>
                </a:path>
              </a:pathLst>
            </a:custGeom>
          </p:spPr>
        </p:pic>
      </p:grpSp>
      <p:grpSp>
        <p:nvGrpSpPr>
          <p:cNvPr id="15" name="BottomRight">
            <a:extLst>
              <a:ext uri="{FF2B5EF4-FFF2-40B4-BE49-F238E27FC236}">
                <a16:creationId xmlns:a16="http://schemas.microsoft.com/office/drawing/2014/main" id="{31C7B86F-B752-48A3-5B4A-1DC6AF4FFEC7}"/>
              </a:ext>
            </a:extLst>
          </p:cNvPr>
          <p:cNvGrpSpPr/>
          <p:nvPr/>
        </p:nvGrpSpPr>
        <p:grpSpPr>
          <a:xfrm>
            <a:off x="5700515" y="2660116"/>
            <a:ext cx="2750400" cy="2750400"/>
            <a:chOff x="4720800" y="2266012"/>
            <a:chExt cx="2750400" cy="27504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181958B-0428-CF43-94FE-86D90AD54786}"/>
                </a:ext>
              </a:extLst>
            </p:cNvPr>
            <p:cNvSpPr/>
            <p:nvPr/>
          </p:nvSpPr>
          <p:spPr>
            <a:xfrm>
              <a:off x="4720800" y="2266012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7" name="Picture 16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79C2F94B-071D-18FA-53BD-01DA265803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42" t="57010" b="17030"/>
            <a:stretch>
              <a:fillRect/>
            </a:stretch>
          </p:blipFill>
          <p:spPr>
            <a:xfrm>
              <a:off x="5853386" y="3429000"/>
              <a:ext cx="680579" cy="1438291"/>
            </a:xfrm>
            <a:custGeom>
              <a:avLst/>
              <a:gdLst>
                <a:gd name="connsiteX0" fmla="*/ 0 w 680579"/>
                <a:gd name="connsiteY0" fmla="*/ 0 h 1438291"/>
                <a:gd name="connsiteX1" fmla="*/ 478982 w 680579"/>
                <a:gd name="connsiteY1" fmla="*/ 0 h 1438291"/>
                <a:gd name="connsiteX2" fmla="*/ 680579 w 680579"/>
                <a:gd name="connsiteY2" fmla="*/ 506690 h 1438291"/>
                <a:gd name="connsiteX3" fmla="*/ 680579 w 680579"/>
                <a:gd name="connsiteY3" fmla="*/ 1438291 h 1438291"/>
                <a:gd name="connsiteX4" fmla="*/ 650395 w 680579"/>
                <a:gd name="connsiteY4" fmla="*/ 1435798 h 1438291"/>
                <a:gd name="connsiteX5" fmla="*/ 528531 w 680579"/>
                <a:gd name="connsiteY5" fmla="*/ 1428345 h 1438291"/>
                <a:gd name="connsiteX6" fmla="*/ 173424 w 680579"/>
                <a:gd name="connsiteY6" fmla="*/ 1428345 h 1438291"/>
                <a:gd name="connsiteX7" fmla="*/ 8259 w 680579"/>
                <a:gd name="connsiteY7" fmla="*/ 759517 h 14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579" h="1438291">
                  <a:moveTo>
                    <a:pt x="0" y="0"/>
                  </a:moveTo>
                  <a:lnTo>
                    <a:pt x="478982" y="0"/>
                  </a:lnTo>
                  <a:lnTo>
                    <a:pt x="680579" y="506690"/>
                  </a:lnTo>
                  <a:lnTo>
                    <a:pt x="680579" y="1438291"/>
                  </a:lnTo>
                  <a:lnTo>
                    <a:pt x="650395" y="1435798"/>
                  </a:lnTo>
                  <a:cubicBezTo>
                    <a:pt x="606467" y="1432547"/>
                    <a:pt x="565201" y="1429951"/>
                    <a:pt x="528531" y="1428345"/>
                  </a:cubicBezTo>
                  <a:cubicBezTo>
                    <a:pt x="410223" y="1423162"/>
                    <a:pt x="291794" y="1428345"/>
                    <a:pt x="173424" y="1428345"/>
                  </a:cubicBezTo>
                  <a:lnTo>
                    <a:pt x="8259" y="759517"/>
                  </a:lnTo>
                  <a:close/>
                </a:path>
              </a:pathLst>
            </a:cu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840800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CA49452-5C6D-61BA-BF6B-4C313E5334CA}"/>
              </a:ext>
            </a:extLst>
          </p:cNvPr>
          <p:cNvSpPr/>
          <p:nvPr/>
        </p:nvSpPr>
        <p:spPr>
          <a:xfrm>
            <a:off x="5003400" y="2166151"/>
            <a:ext cx="2185200" cy="3265200"/>
          </a:xfrm>
          <a:prstGeom prst="rect">
            <a:avLst/>
          </a:prstGeom>
          <a:solidFill>
            <a:srgbClr val="2E2E2E"/>
          </a:solidFill>
          <a:ln w="889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pic>
        <p:nvPicPr>
          <p:cNvPr id="3" name="Picture 2" descr="A yellow taxi car with black and white stripes&#10;&#10;Description automatically generated">
            <a:extLst>
              <a:ext uri="{FF2B5EF4-FFF2-40B4-BE49-F238E27FC236}">
                <a16:creationId xmlns:a16="http://schemas.microsoft.com/office/drawing/2014/main" id="{07D5D46A-9678-4615-639D-BAEEC2648B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1534" y="658761"/>
            <a:ext cx="2828932" cy="5540478"/>
          </a:xfrm>
          <a:custGeom>
            <a:avLst/>
            <a:gdLst>
              <a:gd name="connsiteX0" fmla="*/ 0 w 2828932"/>
              <a:gd name="connsiteY0" fmla="*/ 0 h 5540478"/>
              <a:gd name="connsiteX1" fmla="*/ 2828932 w 2828932"/>
              <a:gd name="connsiteY1" fmla="*/ 0 h 5540478"/>
              <a:gd name="connsiteX2" fmla="*/ 2828932 w 2828932"/>
              <a:gd name="connsiteY2" fmla="*/ 1999530 h 5540478"/>
              <a:gd name="connsiteX3" fmla="*/ 2716524 w 2828932"/>
              <a:gd name="connsiteY3" fmla="*/ 2004538 h 5540478"/>
              <a:gd name="connsiteX4" fmla="*/ 2334784 w 2828932"/>
              <a:gd name="connsiteY4" fmla="*/ 2004538 h 5540478"/>
              <a:gd name="connsiteX5" fmla="*/ 2157231 w 2828932"/>
              <a:gd name="connsiteY5" fmla="*/ 2528320 h 5540478"/>
              <a:gd name="connsiteX6" fmla="*/ 2148353 w 2828932"/>
              <a:gd name="connsiteY6" fmla="*/ 3123124 h 5540478"/>
              <a:gd name="connsiteX7" fmla="*/ 2663258 w 2828932"/>
              <a:gd name="connsiteY7" fmla="*/ 3123124 h 5540478"/>
              <a:gd name="connsiteX8" fmla="*/ 2828932 w 2828932"/>
              <a:gd name="connsiteY8" fmla="*/ 2819778 h 5540478"/>
              <a:gd name="connsiteX9" fmla="*/ 2828932 w 2828932"/>
              <a:gd name="connsiteY9" fmla="*/ 3665323 h 5540478"/>
              <a:gd name="connsiteX10" fmla="*/ 2627335 w 2828932"/>
              <a:gd name="connsiteY10" fmla="*/ 3158634 h 5540478"/>
              <a:gd name="connsiteX11" fmla="*/ 2148353 w 2828932"/>
              <a:gd name="connsiteY11" fmla="*/ 3158634 h 5540478"/>
              <a:gd name="connsiteX12" fmla="*/ 2156612 w 2828932"/>
              <a:gd name="connsiteY12" fmla="*/ 3918151 h 5540478"/>
              <a:gd name="connsiteX13" fmla="*/ 2321777 w 2828932"/>
              <a:gd name="connsiteY13" fmla="*/ 4586979 h 5540478"/>
              <a:gd name="connsiteX14" fmla="*/ 2676884 w 2828932"/>
              <a:gd name="connsiteY14" fmla="*/ 4586979 h 5540478"/>
              <a:gd name="connsiteX15" fmla="*/ 2798748 w 2828932"/>
              <a:gd name="connsiteY15" fmla="*/ 4594432 h 5540478"/>
              <a:gd name="connsiteX16" fmla="*/ 2828932 w 2828932"/>
              <a:gd name="connsiteY16" fmla="*/ 4596925 h 5540478"/>
              <a:gd name="connsiteX17" fmla="*/ 2828932 w 2828932"/>
              <a:gd name="connsiteY17" fmla="*/ 5540478 h 5540478"/>
              <a:gd name="connsiteX18" fmla="*/ 0 w 2828932"/>
              <a:gd name="connsiteY18" fmla="*/ 5540478 h 5540478"/>
              <a:gd name="connsiteX19" fmla="*/ 0 w 2828932"/>
              <a:gd name="connsiteY19" fmla="*/ 4596925 h 5540478"/>
              <a:gd name="connsiteX20" fmla="*/ 30184 w 2828932"/>
              <a:gd name="connsiteY20" fmla="*/ 4594432 h 5540478"/>
              <a:gd name="connsiteX21" fmla="*/ 152047 w 2828932"/>
              <a:gd name="connsiteY21" fmla="*/ 4586979 h 5540478"/>
              <a:gd name="connsiteX22" fmla="*/ 507154 w 2828932"/>
              <a:gd name="connsiteY22" fmla="*/ 4586979 h 5540478"/>
              <a:gd name="connsiteX23" fmla="*/ 672320 w 2828932"/>
              <a:gd name="connsiteY23" fmla="*/ 3918151 h 5540478"/>
              <a:gd name="connsiteX24" fmla="*/ 680578 w 2828932"/>
              <a:gd name="connsiteY24" fmla="*/ 3158634 h 5540478"/>
              <a:gd name="connsiteX25" fmla="*/ 201597 w 2828932"/>
              <a:gd name="connsiteY25" fmla="*/ 3158634 h 5540478"/>
              <a:gd name="connsiteX26" fmla="*/ 0 w 2828932"/>
              <a:gd name="connsiteY26" fmla="*/ 3665322 h 5540478"/>
              <a:gd name="connsiteX27" fmla="*/ 0 w 2828932"/>
              <a:gd name="connsiteY27" fmla="*/ 2819779 h 5540478"/>
              <a:gd name="connsiteX28" fmla="*/ 165674 w 2828932"/>
              <a:gd name="connsiteY28" fmla="*/ 3123125 h 5540478"/>
              <a:gd name="connsiteX29" fmla="*/ 680579 w 2828932"/>
              <a:gd name="connsiteY29" fmla="*/ 3123125 h 5540478"/>
              <a:gd name="connsiteX30" fmla="*/ 671701 w 2828932"/>
              <a:gd name="connsiteY30" fmla="*/ 2528321 h 5540478"/>
              <a:gd name="connsiteX31" fmla="*/ 494148 w 2828932"/>
              <a:gd name="connsiteY31" fmla="*/ 2004539 h 5540478"/>
              <a:gd name="connsiteX32" fmla="*/ 112408 w 2828932"/>
              <a:gd name="connsiteY32" fmla="*/ 2004539 h 5540478"/>
              <a:gd name="connsiteX33" fmla="*/ 0 w 2828932"/>
              <a:gd name="connsiteY33" fmla="*/ 1999531 h 5540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2828932" h="5540478">
                <a:moveTo>
                  <a:pt x="0" y="0"/>
                </a:moveTo>
                <a:lnTo>
                  <a:pt x="2828932" y="0"/>
                </a:lnTo>
                <a:lnTo>
                  <a:pt x="2828932" y="1999530"/>
                </a:lnTo>
                <a:lnTo>
                  <a:pt x="2716524" y="2004538"/>
                </a:lnTo>
                <a:cubicBezTo>
                  <a:pt x="2589342" y="2008597"/>
                  <a:pt x="2462031" y="2004538"/>
                  <a:pt x="2334784" y="2004538"/>
                </a:cubicBezTo>
                <a:lnTo>
                  <a:pt x="2157231" y="2528320"/>
                </a:lnTo>
                <a:lnTo>
                  <a:pt x="2148353" y="3123124"/>
                </a:lnTo>
                <a:lnTo>
                  <a:pt x="2663258" y="3123124"/>
                </a:lnTo>
                <a:lnTo>
                  <a:pt x="2828932" y="2819778"/>
                </a:lnTo>
                <a:lnTo>
                  <a:pt x="2828932" y="3665323"/>
                </a:lnTo>
                <a:lnTo>
                  <a:pt x="2627335" y="3158634"/>
                </a:lnTo>
                <a:lnTo>
                  <a:pt x="2148353" y="3158634"/>
                </a:lnTo>
                <a:lnTo>
                  <a:pt x="2156612" y="3918151"/>
                </a:lnTo>
                <a:lnTo>
                  <a:pt x="2321777" y="4586979"/>
                </a:lnTo>
                <a:cubicBezTo>
                  <a:pt x="2440147" y="4586979"/>
                  <a:pt x="2558576" y="4581796"/>
                  <a:pt x="2676884" y="4586979"/>
                </a:cubicBezTo>
                <a:cubicBezTo>
                  <a:pt x="2713554" y="4588585"/>
                  <a:pt x="2754821" y="4591182"/>
                  <a:pt x="2798748" y="4594432"/>
                </a:cubicBezTo>
                <a:lnTo>
                  <a:pt x="2828932" y="4596925"/>
                </a:lnTo>
                <a:lnTo>
                  <a:pt x="2828932" y="5540478"/>
                </a:lnTo>
                <a:lnTo>
                  <a:pt x="0" y="5540478"/>
                </a:lnTo>
                <a:lnTo>
                  <a:pt x="0" y="4596925"/>
                </a:lnTo>
                <a:lnTo>
                  <a:pt x="30184" y="4594432"/>
                </a:lnTo>
                <a:cubicBezTo>
                  <a:pt x="74111" y="4591182"/>
                  <a:pt x="115378" y="4588585"/>
                  <a:pt x="152047" y="4586979"/>
                </a:cubicBezTo>
                <a:cubicBezTo>
                  <a:pt x="270356" y="4581796"/>
                  <a:pt x="388785" y="4586979"/>
                  <a:pt x="507154" y="4586979"/>
                </a:cubicBezTo>
                <a:lnTo>
                  <a:pt x="672320" y="3918151"/>
                </a:lnTo>
                <a:lnTo>
                  <a:pt x="680578" y="3158634"/>
                </a:lnTo>
                <a:lnTo>
                  <a:pt x="201597" y="3158634"/>
                </a:lnTo>
                <a:lnTo>
                  <a:pt x="0" y="3665322"/>
                </a:lnTo>
                <a:lnTo>
                  <a:pt x="0" y="2819779"/>
                </a:lnTo>
                <a:lnTo>
                  <a:pt x="165674" y="3123125"/>
                </a:lnTo>
                <a:lnTo>
                  <a:pt x="680579" y="3123125"/>
                </a:lnTo>
                <a:lnTo>
                  <a:pt x="671701" y="2528321"/>
                </a:lnTo>
                <a:lnTo>
                  <a:pt x="494148" y="2004539"/>
                </a:lnTo>
                <a:cubicBezTo>
                  <a:pt x="366901" y="2004539"/>
                  <a:pt x="239590" y="2008598"/>
                  <a:pt x="112408" y="2004539"/>
                </a:cubicBezTo>
                <a:lnTo>
                  <a:pt x="0" y="1999531"/>
                </a:lnTo>
                <a:close/>
              </a:path>
            </a:pathLst>
          </a:custGeom>
        </p:spPr>
      </p:pic>
      <p:grpSp>
        <p:nvGrpSpPr>
          <p:cNvPr id="6" name="TopLeft">
            <a:extLst>
              <a:ext uri="{FF2B5EF4-FFF2-40B4-BE49-F238E27FC236}">
                <a16:creationId xmlns:a16="http://schemas.microsoft.com/office/drawing/2014/main" id="{A6E666F1-B5B2-3002-FF0B-DC8826DCC49F}"/>
              </a:ext>
            </a:extLst>
          </p:cNvPr>
          <p:cNvGrpSpPr/>
          <p:nvPr/>
        </p:nvGrpSpPr>
        <p:grpSpPr>
          <a:xfrm>
            <a:off x="3645954" y="1293794"/>
            <a:ext cx="2750400" cy="2750400"/>
            <a:chOff x="4720799" y="2053800"/>
            <a:chExt cx="2750400" cy="275040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187E951-8163-0509-D40D-5CA740FB500D}"/>
                </a:ext>
              </a:extLst>
            </p:cNvPr>
            <p:cNvSpPr/>
            <p:nvPr/>
          </p:nvSpPr>
          <p:spPr>
            <a:xfrm>
              <a:off x="4720799" y="2053800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8" name="Picture 7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EAC57B9B-C96C-800D-8FE2-F70E137B5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090" r="75942" b="43631"/>
            <a:stretch>
              <a:fillRect/>
            </a:stretch>
          </p:blipFill>
          <p:spPr>
            <a:xfrm>
              <a:off x="5755710" y="3420122"/>
              <a:ext cx="680579" cy="1123594"/>
            </a:xfrm>
            <a:custGeom>
              <a:avLst/>
              <a:gdLst>
                <a:gd name="connsiteX0" fmla="*/ 0 w 680579"/>
                <a:gd name="connsiteY0" fmla="*/ 0 h 1123594"/>
                <a:gd name="connsiteX1" fmla="*/ 112408 w 680579"/>
                <a:gd name="connsiteY1" fmla="*/ 5008 h 1123594"/>
                <a:gd name="connsiteX2" fmla="*/ 494148 w 680579"/>
                <a:gd name="connsiteY2" fmla="*/ 5008 h 1123594"/>
                <a:gd name="connsiteX3" fmla="*/ 671701 w 680579"/>
                <a:gd name="connsiteY3" fmla="*/ 528790 h 1123594"/>
                <a:gd name="connsiteX4" fmla="*/ 680579 w 680579"/>
                <a:gd name="connsiteY4" fmla="*/ 1123594 h 1123594"/>
                <a:gd name="connsiteX5" fmla="*/ 165674 w 680579"/>
                <a:gd name="connsiteY5" fmla="*/ 1123594 h 1123594"/>
                <a:gd name="connsiteX6" fmla="*/ 0 w 680579"/>
                <a:gd name="connsiteY6" fmla="*/ 820248 h 112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579" h="1123594">
                  <a:moveTo>
                    <a:pt x="0" y="0"/>
                  </a:moveTo>
                  <a:lnTo>
                    <a:pt x="112408" y="5008"/>
                  </a:lnTo>
                  <a:cubicBezTo>
                    <a:pt x="239590" y="9067"/>
                    <a:pt x="366901" y="5008"/>
                    <a:pt x="494148" y="5008"/>
                  </a:cubicBezTo>
                  <a:lnTo>
                    <a:pt x="671701" y="528790"/>
                  </a:lnTo>
                  <a:lnTo>
                    <a:pt x="680579" y="1123594"/>
                  </a:lnTo>
                  <a:lnTo>
                    <a:pt x="165674" y="1123594"/>
                  </a:lnTo>
                  <a:lnTo>
                    <a:pt x="0" y="820248"/>
                  </a:lnTo>
                  <a:close/>
                </a:path>
              </a:pathLst>
            </a:custGeom>
          </p:spPr>
        </p:pic>
      </p:grpSp>
      <p:grpSp>
        <p:nvGrpSpPr>
          <p:cNvPr id="9" name="BottomLeft">
            <a:extLst>
              <a:ext uri="{FF2B5EF4-FFF2-40B4-BE49-F238E27FC236}">
                <a16:creationId xmlns:a16="http://schemas.microsoft.com/office/drawing/2014/main" id="{AB3CAD78-16FE-2BE5-F7FA-A2157CD561B9}"/>
              </a:ext>
            </a:extLst>
          </p:cNvPr>
          <p:cNvGrpSpPr/>
          <p:nvPr/>
        </p:nvGrpSpPr>
        <p:grpSpPr>
          <a:xfrm>
            <a:off x="3741085" y="2880703"/>
            <a:ext cx="2750400" cy="2750400"/>
            <a:chOff x="4720800" y="2485748"/>
            <a:chExt cx="2750400" cy="27504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0C984BE-3146-99D2-575D-4723FA85B4E5}"/>
                </a:ext>
              </a:extLst>
            </p:cNvPr>
            <p:cNvSpPr/>
            <p:nvPr/>
          </p:nvSpPr>
          <p:spPr>
            <a:xfrm>
              <a:off x="4720800" y="2485748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1" name="Picture 10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770E54BA-2C5F-4C69-7AC2-42BE60155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010" r="75942" b="17030"/>
            <a:stretch>
              <a:fillRect/>
            </a:stretch>
          </p:blipFill>
          <p:spPr>
            <a:xfrm>
              <a:off x="5662672" y="3429000"/>
              <a:ext cx="680578" cy="1438291"/>
            </a:xfrm>
            <a:custGeom>
              <a:avLst/>
              <a:gdLst>
                <a:gd name="connsiteX0" fmla="*/ 201597 w 680578"/>
                <a:gd name="connsiteY0" fmla="*/ 0 h 1438291"/>
                <a:gd name="connsiteX1" fmla="*/ 680578 w 680578"/>
                <a:gd name="connsiteY1" fmla="*/ 0 h 1438291"/>
                <a:gd name="connsiteX2" fmla="*/ 672320 w 680578"/>
                <a:gd name="connsiteY2" fmla="*/ 759517 h 1438291"/>
                <a:gd name="connsiteX3" fmla="*/ 507154 w 680578"/>
                <a:gd name="connsiteY3" fmla="*/ 1428345 h 1438291"/>
                <a:gd name="connsiteX4" fmla="*/ 152047 w 680578"/>
                <a:gd name="connsiteY4" fmla="*/ 1428345 h 1438291"/>
                <a:gd name="connsiteX5" fmla="*/ 30184 w 680578"/>
                <a:gd name="connsiteY5" fmla="*/ 1435798 h 1438291"/>
                <a:gd name="connsiteX6" fmla="*/ 0 w 680578"/>
                <a:gd name="connsiteY6" fmla="*/ 1438291 h 1438291"/>
                <a:gd name="connsiteX7" fmla="*/ 0 w 680578"/>
                <a:gd name="connsiteY7" fmla="*/ 506687 h 14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578" h="1438291">
                  <a:moveTo>
                    <a:pt x="201597" y="0"/>
                  </a:moveTo>
                  <a:lnTo>
                    <a:pt x="680578" y="0"/>
                  </a:lnTo>
                  <a:lnTo>
                    <a:pt x="672320" y="759517"/>
                  </a:lnTo>
                  <a:lnTo>
                    <a:pt x="507154" y="1428345"/>
                  </a:lnTo>
                  <a:cubicBezTo>
                    <a:pt x="388785" y="1428345"/>
                    <a:pt x="270356" y="1423162"/>
                    <a:pt x="152047" y="1428345"/>
                  </a:cubicBezTo>
                  <a:cubicBezTo>
                    <a:pt x="115378" y="1429951"/>
                    <a:pt x="74111" y="1432547"/>
                    <a:pt x="30184" y="1435798"/>
                  </a:cubicBezTo>
                  <a:lnTo>
                    <a:pt x="0" y="1438291"/>
                  </a:lnTo>
                  <a:lnTo>
                    <a:pt x="0" y="506687"/>
                  </a:lnTo>
                  <a:close/>
                </a:path>
              </a:pathLst>
            </a:custGeom>
          </p:spPr>
        </p:pic>
      </p:grpSp>
      <p:grpSp>
        <p:nvGrpSpPr>
          <p:cNvPr id="12" name="TopRight">
            <a:extLst>
              <a:ext uri="{FF2B5EF4-FFF2-40B4-BE49-F238E27FC236}">
                <a16:creationId xmlns:a16="http://schemas.microsoft.com/office/drawing/2014/main" id="{B05A34B3-F6D5-38B6-17E6-3DE7A2DD8C74}"/>
              </a:ext>
            </a:extLst>
          </p:cNvPr>
          <p:cNvGrpSpPr/>
          <p:nvPr/>
        </p:nvGrpSpPr>
        <p:grpSpPr>
          <a:xfrm>
            <a:off x="5795646" y="1284916"/>
            <a:ext cx="2750400" cy="2750400"/>
            <a:chOff x="4720800" y="2053800"/>
            <a:chExt cx="2750400" cy="27504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D639D3D-BDA8-15F1-D275-789F6F857CB3}"/>
                </a:ext>
              </a:extLst>
            </p:cNvPr>
            <p:cNvSpPr/>
            <p:nvPr/>
          </p:nvSpPr>
          <p:spPr>
            <a:xfrm>
              <a:off x="4720800" y="2053800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4" name="Picture 13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564B3971-FE67-1C38-DDA7-F879EE06A4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42" t="36090" b="43631"/>
            <a:stretch>
              <a:fillRect/>
            </a:stretch>
          </p:blipFill>
          <p:spPr>
            <a:xfrm>
              <a:off x="5755710" y="3429000"/>
              <a:ext cx="680579" cy="1123594"/>
            </a:xfrm>
            <a:custGeom>
              <a:avLst/>
              <a:gdLst>
                <a:gd name="connsiteX0" fmla="*/ 680579 w 680579"/>
                <a:gd name="connsiteY0" fmla="*/ 0 h 1123594"/>
                <a:gd name="connsiteX1" fmla="*/ 680579 w 680579"/>
                <a:gd name="connsiteY1" fmla="*/ 820248 h 1123594"/>
                <a:gd name="connsiteX2" fmla="*/ 514905 w 680579"/>
                <a:gd name="connsiteY2" fmla="*/ 1123594 h 1123594"/>
                <a:gd name="connsiteX3" fmla="*/ 0 w 680579"/>
                <a:gd name="connsiteY3" fmla="*/ 1123594 h 1123594"/>
                <a:gd name="connsiteX4" fmla="*/ 8878 w 680579"/>
                <a:gd name="connsiteY4" fmla="*/ 528790 h 1123594"/>
                <a:gd name="connsiteX5" fmla="*/ 186431 w 680579"/>
                <a:gd name="connsiteY5" fmla="*/ 5008 h 1123594"/>
                <a:gd name="connsiteX6" fmla="*/ 568171 w 680579"/>
                <a:gd name="connsiteY6" fmla="*/ 5008 h 112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579" h="1123594">
                  <a:moveTo>
                    <a:pt x="680579" y="0"/>
                  </a:moveTo>
                  <a:lnTo>
                    <a:pt x="680579" y="820248"/>
                  </a:lnTo>
                  <a:lnTo>
                    <a:pt x="514905" y="1123594"/>
                  </a:lnTo>
                  <a:lnTo>
                    <a:pt x="0" y="1123594"/>
                  </a:lnTo>
                  <a:lnTo>
                    <a:pt x="8878" y="528790"/>
                  </a:lnTo>
                  <a:lnTo>
                    <a:pt x="186431" y="5008"/>
                  </a:lnTo>
                  <a:cubicBezTo>
                    <a:pt x="313678" y="5008"/>
                    <a:pt x="440989" y="9067"/>
                    <a:pt x="568171" y="5008"/>
                  </a:cubicBezTo>
                  <a:close/>
                </a:path>
              </a:pathLst>
            </a:custGeom>
          </p:spPr>
        </p:pic>
      </p:grpSp>
      <p:grpSp>
        <p:nvGrpSpPr>
          <p:cNvPr id="15" name="BottomRight">
            <a:extLst>
              <a:ext uri="{FF2B5EF4-FFF2-40B4-BE49-F238E27FC236}">
                <a16:creationId xmlns:a16="http://schemas.microsoft.com/office/drawing/2014/main" id="{31C7B86F-B752-48A3-5B4A-1DC6AF4FFEC7}"/>
              </a:ext>
            </a:extLst>
          </p:cNvPr>
          <p:cNvGrpSpPr/>
          <p:nvPr/>
        </p:nvGrpSpPr>
        <p:grpSpPr>
          <a:xfrm>
            <a:off x="5700515" y="2660116"/>
            <a:ext cx="2750400" cy="2750400"/>
            <a:chOff x="4720800" y="2266012"/>
            <a:chExt cx="2750400" cy="27504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181958B-0428-CF43-94FE-86D90AD54786}"/>
                </a:ext>
              </a:extLst>
            </p:cNvPr>
            <p:cNvSpPr/>
            <p:nvPr/>
          </p:nvSpPr>
          <p:spPr>
            <a:xfrm>
              <a:off x="4720800" y="2266012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7" name="Picture 16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79C2F94B-071D-18FA-53BD-01DA265803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42" t="57010" b="17030"/>
            <a:stretch>
              <a:fillRect/>
            </a:stretch>
          </p:blipFill>
          <p:spPr>
            <a:xfrm>
              <a:off x="5853386" y="3429000"/>
              <a:ext cx="680579" cy="1438291"/>
            </a:xfrm>
            <a:custGeom>
              <a:avLst/>
              <a:gdLst>
                <a:gd name="connsiteX0" fmla="*/ 0 w 680579"/>
                <a:gd name="connsiteY0" fmla="*/ 0 h 1438291"/>
                <a:gd name="connsiteX1" fmla="*/ 478982 w 680579"/>
                <a:gd name="connsiteY1" fmla="*/ 0 h 1438291"/>
                <a:gd name="connsiteX2" fmla="*/ 680579 w 680579"/>
                <a:gd name="connsiteY2" fmla="*/ 506690 h 1438291"/>
                <a:gd name="connsiteX3" fmla="*/ 680579 w 680579"/>
                <a:gd name="connsiteY3" fmla="*/ 1438291 h 1438291"/>
                <a:gd name="connsiteX4" fmla="*/ 650395 w 680579"/>
                <a:gd name="connsiteY4" fmla="*/ 1435798 h 1438291"/>
                <a:gd name="connsiteX5" fmla="*/ 528531 w 680579"/>
                <a:gd name="connsiteY5" fmla="*/ 1428345 h 1438291"/>
                <a:gd name="connsiteX6" fmla="*/ 173424 w 680579"/>
                <a:gd name="connsiteY6" fmla="*/ 1428345 h 1438291"/>
                <a:gd name="connsiteX7" fmla="*/ 8259 w 680579"/>
                <a:gd name="connsiteY7" fmla="*/ 759517 h 14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579" h="1438291">
                  <a:moveTo>
                    <a:pt x="0" y="0"/>
                  </a:moveTo>
                  <a:lnTo>
                    <a:pt x="478982" y="0"/>
                  </a:lnTo>
                  <a:lnTo>
                    <a:pt x="680579" y="506690"/>
                  </a:lnTo>
                  <a:lnTo>
                    <a:pt x="680579" y="1438291"/>
                  </a:lnTo>
                  <a:lnTo>
                    <a:pt x="650395" y="1435798"/>
                  </a:lnTo>
                  <a:cubicBezTo>
                    <a:pt x="606467" y="1432547"/>
                    <a:pt x="565201" y="1429951"/>
                    <a:pt x="528531" y="1428345"/>
                  </a:cubicBezTo>
                  <a:cubicBezTo>
                    <a:pt x="410223" y="1423162"/>
                    <a:pt x="291794" y="1428345"/>
                    <a:pt x="173424" y="1428345"/>
                  </a:cubicBezTo>
                  <a:lnTo>
                    <a:pt x="8259" y="759517"/>
                  </a:lnTo>
                  <a:close/>
                </a:path>
              </a:pathLst>
            </a:custGeom>
            <a:ln>
              <a:noFill/>
            </a:ln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951306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restart="whenNotActive" fill="hold" evtFilter="cancelBubble" nodeType="interactiveSeq">
                    <p:stCondLst>
                      <p:cond evt="onClick" delay="0">
                        <p:tgtEl>
                          <p:spTgt spid="6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3" fill="hold">
                          <p:stCondLst>
                            <p:cond delay="0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8" presetClass="emph" presetSubtype="0" fill="hold" nodeType="click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 p14:bounceEnd="80000">
                                          <p:cBhvr>
                                            <p:cTn id="6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7" fill="hold">
                          <p:stCondLst>
                            <p:cond delay="indefinite"/>
                          </p:stCondLst>
                          <p:childTnLst>
                            <p:par>
                              <p:cTn id="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10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6"/>
                      </p:tgtEl>
                    </p:cond>
                  </p:nextCondLst>
                </p:seq>
                <p:seq concurrent="1" nextAc="seek">
                  <p:cTn id="11" restart="whenNotActive" fill="hold" evtFilter="cancelBubble" nodeType="interactiveSeq">
                    <p:stCondLst>
                      <p:cond evt="onClick" delay="0">
                        <p:tgtEl>
                          <p:spTgt spid="9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12" fill="hold">
                          <p:stCondLst>
                            <p:cond delay="0"/>
                          </p:stCondLst>
                          <p:childTnLst>
                            <p:par>
                              <p:cTn id="1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4" presetID="8" presetClass="emph" presetSubtype="0" fill="hold" nodeType="click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 p14:bounceEnd="80000">
                                          <p:cBhvr>
                                            <p:cTn id="15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19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9"/>
                      </p:tgtEl>
                    </p:cond>
                  </p:nextCondLst>
                </p:seq>
                <p:seq concurrent="1" nextAc="seek">
                  <p:cTn id="20" restart="whenNotActive" fill="hold" evtFilter="cancelBubble" nodeType="interactiveSeq">
                    <p:stCondLst>
                      <p:cond evt="onClick" delay="0">
                        <p:tgtEl>
                          <p:spTgt spid="15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21" fill="hold">
                          <p:stCondLst>
                            <p:cond delay="0"/>
                          </p:stCondLst>
                          <p:childTnLst>
                            <p:par>
                              <p:cTn id="2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3" presetID="8" presetClass="emph" presetSubtype="0" fill="hold" nodeType="click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 p14:bounceEnd="80000">
                                          <p:cBhvr>
                                            <p:cTn id="24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5" fill="hold">
                          <p:stCondLst>
                            <p:cond delay="indefinite"/>
                          </p:stCondLst>
                          <p:childTnLst>
                            <p:par>
                              <p:cTn id="2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7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2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15"/>
                      </p:tgtEl>
                    </p:cond>
                  </p:nextCondLst>
                </p:seq>
                <p:seq concurrent="1" nextAc="seek">
                  <p:cTn id="29" restart="whenNotActive" fill="hold" evtFilter="cancelBubble" nodeType="interactiveSeq">
                    <p:stCondLst>
                      <p:cond evt="onClick" delay="0">
                        <p:tgtEl>
                          <p:spTgt spid="12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30" fill="hold">
                          <p:stCondLst>
                            <p:cond delay="0"/>
                          </p:stCondLst>
                          <p:childTnLst>
                            <p:par>
                              <p:cTn id="3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2" presetID="8" presetClass="emph" presetSubtype="0" fill="hold" nodeType="click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 p14:bounceEnd="80000">
                                          <p:cBhvr>
                                            <p:cTn id="33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4" fill="hold">
                          <p:stCondLst>
                            <p:cond delay="indefinite"/>
                          </p:stCondLst>
                          <p:childTnLst>
                            <p:par>
                              <p:cTn id="3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6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3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12"/>
                      </p:tgtEl>
                    </p:cond>
                  </p:nextCondLst>
                </p:seq>
              </p:childTnLst>
            </p:cTn>
          </p:par>
        </p:tn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restart="whenNotActive" fill="hold" evtFilter="cancelBubble" nodeType="interactiveSeq">
                    <p:stCondLst>
                      <p:cond evt="onClick" delay="0">
                        <p:tgtEl>
                          <p:spTgt spid="6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3" fill="hold">
                          <p:stCondLst>
                            <p:cond delay="0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6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7" fill="hold">
                          <p:stCondLst>
                            <p:cond delay="indefinite"/>
                          </p:stCondLst>
                          <p:childTnLst>
                            <p:par>
                              <p:cTn id="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10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6"/>
                      </p:tgtEl>
                    </p:cond>
                  </p:nextCondLst>
                </p:seq>
                <p:seq concurrent="1" nextAc="seek">
                  <p:cTn id="11" restart="whenNotActive" fill="hold" evtFilter="cancelBubble" nodeType="interactiveSeq">
                    <p:stCondLst>
                      <p:cond evt="onClick" delay="0">
                        <p:tgtEl>
                          <p:spTgt spid="9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12" fill="hold">
                          <p:stCondLst>
                            <p:cond delay="0"/>
                          </p:stCondLst>
                          <p:childTnLst>
                            <p:par>
                              <p:cTn id="1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4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15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6" fill="hold">
                          <p:stCondLst>
                            <p:cond delay="indefinite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19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9"/>
                      </p:tgtEl>
                    </p:cond>
                  </p:nextCondLst>
                </p:seq>
                <p:seq concurrent="1" nextAc="seek">
                  <p:cTn id="20" restart="whenNotActive" fill="hold" evtFilter="cancelBubble" nodeType="interactiveSeq">
                    <p:stCondLst>
                      <p:cond evt="onClick" delay="0">
                        <p:tgtEl>
                          <p:spTgt spid="15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21" fill="hold">
                          <p:stCondLst>
                            <p:cond delay="0"/>
                          </p:stCondLst>
                          <p:childTnLst>
                            <p:par>
                              <p:cTn id="2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3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24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5" fill="hold">
                          <p:stCondLst>
                            <p:cond delay="indefinite"/>
                          </p:stCondLst>
                          <p:childTnLst>
                            <p:par>
                              <p:cTn id="2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7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2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15"/>
                      </p:tgtEl>
                    </p:cond>
                  </p:nextCondLst>
                </p:seq>
                <p:seq concurrent="1" nextAc="seek">
                  <p:cTn id="29" restart="whenNotActive" fill="hold" evtFilter="cancelBubble" nodeType="interactiveSeq">
                    <p:stCondLst>
                      <p:cond evt="onClick" delay="0">
                        <p:tgtEl>
                          <p:spTgt spid="12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30" fill="hold">
                          <p:stCondLst>
                            <p:cond delay="0"/>
                          </p:stCondLst>
                          <p:childTnLst>
                            <p:par>
                              <p:cTn id="3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2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33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4" fill="hold">
                          <p:stCondLst>
                            <p:cond delay="indefinite"/>
                          </p:stCondLst>
                          <p:childTnLst>
                            <p:par>
                              <p:cTn id="3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6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3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12"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CA49452-5C6D-61BA-BF6B-4C313E5334CA}"/>
              </a:ext>
            </a:extLst>
          </p:cNvPr>
          <p:cNvSpPr/>
          <p:nvPr/>
        </p:nvSpPr>
        <p:spPr>
          <a:xfrm>
            <a:off x="5003400" y="2166151"/>
            <a:ext cx="2185200" cy="3265200"/>
          </a:xfrm>
          <a:prstGeom prst="rect">
            <a:avLst/>
          </a:prstGeom>
          <a:solidFill>
            <a:srgbClr val="2E2E2E"/>
          </a:solidFill>
          <a:ln w="889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pic>
        <p:nvPicPr>
          <p:cNvPr id="3" name="Picture 2" descr="A yellow taxi car with black and white stripes&#10;&#10;Description automatically generated">
            <a:extLst>
              <a:ext uri="{FF2B5EF4-FFF2-40B4-BE49-F238E27FC236}">
                <a16:creationId xmlns:a16="http://schemas.microsoft.com/office/drawing/2014/main" id="{07D5D46A-9678-4615-639D-BAEEC2648B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1534" y="658761"/>
            <a:ext cx="2828932" cy="5540478"/>
          </a:xfrm>
          <a:custGeom>
            <a:avLst/>
            <a:gdLst>
              <a:gd name="connsiteX0" fmla="*/ 0 w 2828932"/>
              <a:gd name="connsiteY0" fmla="*/ 0 h 5540478"/>
              <a:gd name="connsiteX1" fmla="*/ 2828932 w 2828932"/>
              <a:gd name="connsiteY1" fmla="*/ 0 h 5540478"/>
              <a:gd name="connsiteX2" fmla="*/ 2828932 w 2828932"/>
              <a:gd name="connsiteY2" fmla="*/ 1999530 h 5540478"/>
              <a:gd name="connsiteX3" fmla="*/ 2716524 w 2828932"/>
              <a:gd name="connsiteY3" fmla="*/ 2004538 h 5540478"/>
              <a:gd name="connsiteX4" fmla="*/ 2334784 w 2828932"/>
              <a:gd name="connsiteY4" fmla="*/ 2004538 h 5540478"/>
              <a:gd name="connsiteX5" fmla="*/ 2157231 w 2828932"/>
              <a:gd name="connsiteY5" fmla="*/ 2528320 h 5540478"/>
              <a:gd name="connsiteX6" fmla="*/ 2148353 w 2828932"/>
              <a:gd name="connsiteY6" fmla="*/ 3123124 h 5540478"/>
              <a:gd name="connsiteX7" fmla="*/ 2663258 w 2828932"/>
              <a:gd name="connsiteY7" fmla="*/ 3123124 h 5540478"/>
              <a:gd name="connsiteX8" fmla="*/ 2828932 w 2828932"/>
              <a:gd name="connsiteY8" fmla="*/ 2819778 h 5540478"/>
              <a:gd name="connsiteX9" fmla="*/ 2828932 w 2828932"/>
              <a:gd name="connsiteY9" fmla="*/ 3665323 h 5540478"/>
              <a:gd name="connsiteX10" fmla="*/ 2627335 w 2828932"/>
              <a:gd name="connsiteY10" fmla="*/ 3158634 h 5540478"/>
              <a:gd name="connsiteX11" fmla="*/ 2148353 w 2828932"/>
              <a:gd name="connsiteY11" fmla="*/ 3158634 h 5540478"/>
              <a:gd name="connsiteX12" fmla="*/ 2156612 w 2828932"/>
              <a:gd name="connsiteY12" fmla="*/ 3918151 h 5540478"/>
              <a:gd name="connsiteX13" fmla="*/ 2321777 w 2828932"/>
              <a:gd name="connsiteY13" fmla="*/ 4586979 h 5540478"/>
              <a:gd name="connsiteX14" fmla="*/ 2676884 w 2828932"/>
              <a:gd name="connsiteY14" fmla="*/ 4586979 h 5540478"/>
              <a:gd name="connsiteX15" fmla="*/ 2798748 w 2828932"/>
              <a:gd name="connsiteY15" fmla="*/ 4594432 h 5540478"/>
              <a:gd name="connsiteX16" fmla="*/ 2828932 w 2828932"/>
              <a:gd name="connsiteY16" fmla="*/ 4596925 h 5540478"/>
              <a:gd name="connsiteX17" fmla="*/ 2828932 w 2828932"/>
              <a:gd name="connsiteY17" fmla="*/ 5540478 h 5540478"/>
              <a:gd name="connsiteX18" fmla="*/ 0 w 2828932"/>
              <a:gd name="connsiteY18" fmla="*/ 5540478 h 5540478"/>
              <a:gd name="connsiteX19" fmla="*/ 0 w 2828932"/>
              <a:gd name="connsiteY19" fmla="*/ 4596925 h 5540478"/>
              <a:gd name="connsiteX20" fmla="*/ 30184 w 2828932"/>
              <a:gd name="connsiteY20" fmla="*/ 4594432 h 5540478"/>
              <a:gd name="connsiteX21" fmla="*/ 152047 w 2828932"/>
              <a:gd name="connsiteY21" fmla="*/ 4586979 h 5540478"/>
              <a:gd name="connsiteX22" fmla="*/ 507154 w 2828932"/>
              <a:gd name="connsiteY22" fmla="*/ 4586979 h 5540478"/>
              <a:gd name="connsiteX23" fmla="*/ 672320 w 2828932"/>
              <a:gd name="connsiteY23" fmla="*/ 3918151 h 5540478"/>
              <a:gd name="connsiteX24" fmla="*/ 680578 w 2828932"/>
              <a:gd name="connsiteY24" fmla="*/ 3158634 h 5540478"/>
              <a:gd name="connsiteX25" fmla="*/ 201597 w 2828932"/>
              <a:gd name="connsiteY25" fmla="*/ 3158634 h 5540478"/>
              <a:gd name="connsiteX26" fmla="*/ 0 w 2828932"/>
              <a:gd name="connsiteY26" fmla="*/ 3665322 h 5540478"/>
              <a:gd name="connsiteX27" fmla="*/ 0 w 2828932"/>
              <a:gd name="connsiteY27" fmla="*/ 2819779 h 5540478"/>
              <a:gd name="connsiteX28" fmla="*/ 165674 w 2828932"/>
              <a:gd name="connsiteY28" fmla="*/ 3123125 h 5540478"/>
              <a:gd name="connsiteX29" fmla="*/ 680579 w 2828932"/>
              <a:gd name="connsiteY29" fmla="*/ 3123125 h 5540478"/>
              <a:gd name="connsiteX30" fmla="*/ 671701 w 2828932"/>
              <a:gd name="connsiteY30" fmla="*/ 2528321 h 5540478"/>
              <a:gd name="connsiteX31" fmla="*/ 494148 w 2828932"/>
              <a:gd name="connsiteY31" fmla="*/ 2004539 h 5540478"/>
              <a:gd name="connsiteX32" fmla="*/ 112408 w 2828932"/>
              <a:gd name="connsiteY32" fmla="*/ 2004539 h 5540478"/>
              <a:gd name="connsiteX33" fmla="*/ 0 w 2828932"/>
              <a:gd name="connsiteY33" fmla="*/ 1999531 h 5540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2828932" h="5540478">
                <a:moveTo>
                  <a:pt x="0" y="0"/>
                </a:moveTo>
                <a:lnTo>
                  <a:pt x="2828932" y="0"/>
                </a:lnTo>
                <a:lnTo>
                  <a:pt x="2828932" y="1999530"/>
                </a:lnTo>
                <a:lnTo>
                  <a:pt x="2716524" y="2004538"/>
                </a:lnTo>
                <a:cubicBezTo>
                  <a:pt x="2589342" y="2008597"/>
                  <a:pt x="2462031" y="2004538"/>
                  <a:pt x="2334784" y="2004538"/>
                </a:cubicBezTo>
                <a:lnTo>
                  <a:pt x="2157231" y="2528320"/>
                </a:lnTo>
                <a:lnTo>
                  <a:pt x="2148353" y="3123124"/>
                </a:lnTo>
                <a:lnTo>
                  <a:pt x="2663258" y="3123124"/>
                </a:lnTo>
                <a:lnTo>
                  <a:pt x="2828932" y="2819778"/>
                </a:lnTo>
                <a:lnTo>
                  <a:pt x="2828932" y="3665323"/>
                </a:lnTo>
                <a:lnTo>
                  <a:pt x="2627335" y="3158634"/>
                </a:lnTo>
                <a:lnTo>
                  <a:pt x="2148353" y="3158634"/>
                </a:lnTo>
                <a:lnTo>
                  <a:pt x="2156612" y="3918151"/>
                </a:lnTo>
                <a:lnTo>
                  <a:pt x="2321777" y="4586979"/>
                </a:lnTo>
                <a:cubicBezTo>
                  <a:pt x="2440147" y="4586979"/>
                  <a:pt x="2558576" y="4581796"/>
                  <a:pt x="2676884" y="4586979"/>
                </a:cubicBezTo>
                <a:cubicBezTo>
                  <a:pt x="2713554" y="4588585"/>
                  <a:pt x="2754821" y="4591182"/>
                  <a:pt x="2798748" y="4594432"/>
                </a:cubicBezTo>
                <a:lnTo>
                  <a:pt x="2828932" y="4596925"/>
                </a:lnTo>
                <a:lnTo>
                  <a:pt x="2828932" y="5540478"/>
                </a:lnTo>
                <a:lnTo>
                  <a:pt x="0" y="5540478"/>
                </a:lnTo>
                <a:lnTo>
                  <a:pt x="0" y="4596925"/>
                </a:lnTo>
                <a:lnTo>
                  <a:pt x="30184" y="4594432"/>
                </a:lnTo>
                <a:cubicBezTo>
                  <a:pt x="74111" y="4591182"/>
                  <a:pt x="115378" y="4588585"/>
                  <a:pt x="152047" y="4586979"/>
                </a:cubicBezTo>
                <a:cubicBezTo>
                  <a:pt x="270356" y="4581796"/>
                  <a:pt x="388785" y="4586979"/>
                  <a:pt x="507154" y="4586979"/>
                </a:cubicBezTo>
                <a:lnTo>
                  <a:pt x="672320" y="3918151"/>
                </a:lnTo>
                <a:lnTo>
                  <a:pt x="680578" y="3158634"/>
                </a:lnTo>
                <a:lnTo>
                  <a:pt x="201597" y="3158634"/>
                </a:lnTo>
                <a:lnTo>
                  <a:pt x="0" y="3665322"/>
                </a:lnTo>
                <a:lnTo>
                  <a:pt x="0" y="2819779"/>
                </a:lnTo>
                <a:lnTo>
                  <a:pt x="165674" y="3123125"/>
                </a:lnTo>
                <a:lnTo>
                  <a:pt x="680579" y="3123125"/>
                </a:lnTo>
                <a:lnTo>
                  <a:pt x="671701" y="2528321"/>
                </a:lnTo>
                <a:lnTo>
                  <a:pt x="494148" y="2004539"/>
                </a:lnTo>
                <a:cubicBezTo>
                  <a:pt x="366901" y="2004539"/>
                  <a:pt x="239590" y="2008598"/>
                  <a:pt x="112408" y="2004539"/>
                </a:cubicBezTo>
                <a:lnTo>
                  <a:pt x="0" y="1999531"/>
                </a:lnTo>
                <a:close/>
              </a:path>
            </a:pathLst>
          </a:custGeom>
        </p:spPr>
      </p:pic>
      <p:grpSp>
        <p:nvGrpSpPr>
          <p:cNvPr id="6" name="TopLeft">
            <a:extLst>
              <a:ext uri="{FF2B5EF4-FFF2-40B4-BE49-F238E27FC236}">
                <a16:creationId xmlns:a16="http://schemas.microsoft.com/office/drawing/2014/main" id="{A6E666F1-B5B2-3002-FF0B-DC8826DCC49F}"/>
              </a:ext>
            </a:extLst>
          </p:cNvPr>
          <p:cNvGrpSpPr/>
          <p:nvPr/>
        </p:nvGrpSpPr>
        <p:grpSpPr>
          <a:xfrm>
            <a:off x="3645954" y="1293794"/>
            <a:ext cx="2750400" cy="2750400"/>
            <a:chOff x="4720799" y="2053800"/>
            <a:chExt cx="2750400" cy="275040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187E951-8163-0509-D40D-5CA740FB500D}"/>
                </a:ext>
              </a:extLst>
            </p:cNvPr>
            <p:cNvSpPr/>
            <p:nvPr/>
          </p:nvSpPr>
          <p:spPr>
            <a:xfrm>
              <a:off x="4720799" y="2053800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8" name="Picture 7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EAC57B9B-C96C-800D-8FE2-F70E137B5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090" r="75942" b="43631"/>
            <a:stretch>
              <a:fillRect/>
            </a:stretch>
          </p:blipFill>
          <p:spPr>
            <a:xfrm>
              <a:off x="5755710" y="3420122"/>
              <a:ext cx="680579" cy="1123594"/>
            </a:xfrm>
            <a:custGeom>
              <a:avLst/>
              <a:gdLst>
                <a:gd name="connsiteX0" fmla="*/ 0 w 680579"/>
                <a:gd name="connsiteY0" fmla="*/ 0 h 1123594"/>
                <a:gd name="connsiteX1" fmla="*/ 112408 w 680579"/>
                <a:gd name="connsiteY1" fmla="*/ 5008 h 1123594"/>
                <a:gd name="connsiteX2" fmla="*/ 494148 w 680579"/>
                <a:gd name="connsiteY2" fmla="*/ 5008 h 1123594"/>
                <a:gd name="connsiteX3" fmla="*/ 671701 w 680579"/>
                <a:gd name="connsiteY3" fmla="*/ 528790 h 1123594"/>
                <a:gd name="connsiteX4" fmla="*/ 680579 w 680579"/>
                <a:gd name="connsiteY4" fmla="*/ 1123594 h 1123594"/>
                <a:gd name="connsiteX5" fmla="*/ 165674 w 680579"/>
                <a:gd name="connsiteY5" fmla="*/ 1123594 h 1123594"/>
                <a:gd name="connsiteX6" fmla="*/ 0 w 680579"/>
                <a:gd name="connsiteY6" fmla="*/ 820248 h 112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579" h="1123594">
                  <a:moveTo>
                    <a:pt x="0" y="0"/>
                  </a:moveTo>
                  <a:lnTo>
                    <a:pt x="112408" y="5008"/>
                  </a:lnTo>
                  <a:cubicBezTo>
                    <a:pt x="239590" y="9067"/>
                    <a:pt x="366901" y="5008"/>
                    <a:pt x="494148" y="5008"/>
                  </a:cubicBezTo>
                  <a:lnTo>
                    <a:pt x="671701" y="528790"/>
                  </a:lnTo>
                  <a:lnTo>
                    <a:pt x="680579" y="1123594"/>
                  </a:lnTo>
                  <a:lnTo>
                    <a:pt x="165674" y="1123594"/>
                  </a:lnTo>
                  <a:lnTo>
                    <a:pt x="0" y="820248"/>
                  </a:lnTo>
                  <a:close/>
                </a:path>
              </a:pathLst>
            </a:custGeom>
          </p:spPr>
        </p:pic>
      </p:grpSp>
      <p:grpSp>
        <p:nvGrpSpPr>
          <p:cNvPr id="9" name="BottomLeft">
            <a:extLst>
              <a:ext uri="{FF2B5EF4-FFF2-40B4-BE49-F238E27FC236}">
                <a16:creationId xmlns:a16="http://schemas.microsoft.com/office/drawing/2014/main" id="{AB3CAD78-16FE-2BE5-F7FA-A2157CD561B9}"/>
              </a:ext>
            </a:extLst>
          </p:cNvPr>
          <p:cNvGrpSpPr/>
          <p:nvPr/>
        </p:nvGrpSpPr>
        <p:grpSpPr>
          <a:xfrm>
            <a:off x="3741085" y="2880703"/>
            <a:ext cx="2750400" cy="2750400"/>
            <a:chOff x="4720800" y="2485748"/>
            <a:chExt cx="2750400" cy="27504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0C984BE-3146-99D2-575D-4723FA85B4E5}"/>
                </a:ext>
              </a:extLst>
            </p:cNvPr>
            <p:cNvSpPr/>
            <p:nvPr/>
          </p:nvSpPr>
          <p:spPr>
            <a:xfrm>
              <a:off x="4720800" y="2485748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1" name="Picture 10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770E54BA-2C5F-4C69-7AC2-42BE601550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010" r="75942" b="17030"/>
            <a:stretch>
              <a:fillRect/>
            </a:stretch>
          </p:blipFill>
          <p:spPr>
            <a:xfrm>
              <a:off x="5662672" y="3429000"/>
              <a:ext cx="680578" cy="1438291"/>
            </a:xfrm>
            <a:custGeom>
              <a:avLst/>
              <a:gdLst>
                <a:gd name="connsiteX0" fmla="*/ 201597 w 680578"/>
                <a:gd name="connsiteY0" fmla="*/ 0 h 1438291"/>
                <a:gd name="connsiteX1" fmla="*/ 680578 w 680578"/>
                <a:gd name="connsiteY1" fmla="*/ 0 h 1438291"/>
                <a:gd name="connsiteX2" fmla="*/ 672320 w 680578"/>
                <a:gd name="connsiteY2" fmla="*/ 759517 h 1438291"/>
                <a:gd name="connsiteX3" fmla="*/ 507154 w 680578"/>
                <a:gd name="connsiteY3" fmla="*/ 1428345 h 1438291"/>
                <a:gd name="connsiteX4" fmla="*/ 152047 w 680578"/>
                <a:gd name="connsiteY4" fmla="*/ 1428345 h 1438291"/>
                <a:gd name="connsiteX5" fmla="*/ 30184 w 680578"/>
                <a:gd name="connsiteY5" fmla="*/ 1435798 h 1438291"/>
                <a:gd name="connsiteX6" fmla="*/ 0 w 680578"/>
                <a:gd name="connsiteY6" fmla="*/ 1438291 h 1438291"/>
                <a:gd name="connsiteX7" fmla="*/ 0 w 680578"/>
                <a:gd name="connsiteY7" fmla="*/ 506687 h 14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578" h="1438291">
                  <a:moveTo>
                    <a:pt x="201597" y="0"/>
                  </a:moveTo>
                  <a:lnTo>
                    <a:pt x="680578" y="0"/>
                  </a:lnTo>
                  <a:lnTo>
                    <a:pt x="672320" y="759517"/>
                  </a:lnTo>
                  <a:lnTo>
                    <a:pt x="507154" y="1428345"/>
                  </a:lnTo>
                  <a:cubicBezTo>
                    <a:pt x="388785" y="1428345"/>
                    <a:pt x="270356" y="1423162"/>
                    <a:pt x="152047" y="1428345"/>
                  </a:cubicBezTo>
                  <a:cubicBezTo>
                    <a:pt x="115378" y="1429951"/>
                    <a:pt x="74111" y="1432547"/>
                    <a:pt x="30184" y="1435798"/>
                  </a:cubicBezTo>
                  <a:lnTo>
                    <a:pt x="0" y="1438291"/>
                  </a:lnTo>
                  <a:lnTo>
                    <a:pt x="0" y="506687"/>
                  </a:lnTo>
                  <a:close/>
                </a:path>
              </a:pathLst>
            </a:custGeom>
          </p:spPr>
        </p:pic>
      </p:grpSp>
      <p:grpSp>
        <p:nvGrpSpPr>
          <p:cNvPr id="12" name="TopRight">
            <a:extLst>
              <a:ext uri="{FF2B5EF4-FFF2-40B4-BE49-F238E27FC236}">
                <a16:creationId xmlns:a16="http://schemas.microsoft.com/office/drawing/2014/main" id="{B05A34B3-F6D5-38B6-17E6-3DE7A2DD8C74}"/>
              </a:ext>
            </a:extLst>
          </p:cNvPr>
          <p:cNvGrpSpPr/>
          <p:nvPr/>
        </p:nvGrpSpPr>
        <p:grpSpPr>
          <a:xfrm>
            <a:off x="5795646" y="1284916"/>
            <a:ext cx="2750400" cy="2750400"/>
            <a:chOff x="4720800" y="2053800"/>
            <a:chExt cx="2750400" cy="27504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D639D3D-BDA8-15F1-D275-789F6F857CB3}"/>
                </a:ext>
              </a:extLst>
            </p:cNvPr>
            <p:cNvSpPr/>
            <p:nvPr/>
          </p:nvSpPr>
          <p:spPr>
            <a:xfrm>
              <a:off x="4720800" y="2053800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4" name="Picture 13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564B3971-FE67-1C38-DDA7-F879EE06A4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42" t="36090" b="43631"/>
            <a:stretch>
              <a:fillRect/>
            </a:stretch>
          </p:blipFill>
          <p:spPr>
            <a:xfrm>
              <a:off x="5755710" y="3429000"/>
              <a:ext cx="680579" cy="1123594"/>
            </a:xfrm>
            <a:custGeom>
              <a:avLst/>
              <a:gdLst>
                <a:gd name="connsiteX0" fmla="*/ 680579 w 680579"/>
                <a:gd name="connsiteY0" fmla="*/ 0 h 1123594"/>
                <a:gd name="connsiteX1" fmla="*/ 680579 w 680579"/>
                <a:gd name="connsiteY1" fmla="*/ 820248 h 1123594"/>
                <a:gd name="connsiteX2" fmla="*/ 514905 w 680579"/>
                <a:gd name="connsiteY2" fmla="*/ 1123594 h 1123594"/>
                <a:gd name="connsiteX3" fmla="*/ 0 w 680579"/>
                <a:gd name="connsiteY3" fmla="*/ 1123594 h 1123594"/>
                <a:gd name="connsiteX4" fmla="*/ 8878 w 680579"/>
                <a:gd name="connsiteY4" fmla="*/ 528790 h 1123594"/>
                <a:gd name="connsiteX5" fmla="*/ 186431 w 680579"/>
                <a:gd name="connsiteY5" fmla="*/ 5008 h 1123594"/>
                <a:gd name="connsiteX6" fmla="*/ 568171 w 680579"/>
                <a:gd name="connsiteY6" fmla="*/ 5008 h 112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0579" h="1123594">
                  <a:moveTo>
                    <a:pt x="680579" y="0"/>
                  </a:moveTo>
                  <a:lnTo>
                    <a:pt x="680579" y="820248"/>
                  </a:lnTo>
                  <a:lnTo>
                    <a:pt x="514905" y="1123594"/>
                  </a:lnTo>
                  <a:lnTo>
                    <a:pt x="0" y="1123594"/>
                  </a:lnTo>
                  <a:lnTo>
                    <a:pt x="8878" y="528790"/>
                  </a:lnTo>
                  <a:lnTo>
                    <a:pt x="186431" y="5008"/>
                  </a:lnTo>
                  <a:cubicBezTo>
                    <a:pt x="313678" y="5008"/>
                    <a:pt x="440989" y="9067"/>
                    <a:pt x="568171" y="5008"/>
                  </a:cubicBezTo>
                  <a:close/>
                </a:path>
              </a:pathLst>
            </a:custGeom>
          </p:spPr>
        </p:pic>
      </p:grpSp>
      <p:grpSp>
        <p:nvGrpSpPr>
          <p:cNvPr id="15" name="BottomRight">
            <a:extLst>
              <a:ext uri="{FF2B5EF4-FFF2-40B4-BE49-F238E27FC236}">
                <a16:creationId xmlns:a16="http://schemas.microsoft.com/office/drawing/2014/main" id="{31C7B86F-B752-48A3-5B4A-1DC6AF4FFEC7}"/>
              </a:ext>
            </a:extLst>
          </p:cNvPr>
          <p:cNvGrpSpPr/>
          <p:nvPr/>
        </p:nvGrpSpPr>
        <p:grpSpPr>
          <a:xfrm>
            <a:off x="5700515" y="2660116"/>
            <a:ext cx="2750400" cy="2750400"/>
            <a:chOff x="4720800" y="2266012"/>
            <a:chExt cx="2750400" cy="27504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181958B-0428-CF43-94FE-86D90AD54786}"/>
                </a:ext>
              </a:extLst>
            </p:cNvPr>
            <p:cNvSpPr/>
            <p:nvPr/>
          </p:nvSpPr>
          <p:spPr>
            <a:xfrm>
              <a:off x="4720800" y="2266012"/>
              <a:ext cx="2750400" cy="2750400"/>
            </a:xfrm>
            <a:prstGeom prst="ellipse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Y" dirty="0"/>
            </a:p>
          </p:txBody>
        </p:sp>
        <p:pic>
          <p:nvPicPr>
            <p:cNvPr id="17" name="Picture 16" descr="A yellow taxi car with black and white stripes&#10;&#10;Description automatically generated">
              <a:extLst>
                <a:ext uri="{FF2B5EF4-FFF2-40B4-BE49-F238E27FC236}">
                  <a16:creationId xmlns:a16="http://schemas.microsoft.com/office/drawing/2014/main" id="{79C2F94B-071D-18FA-53BD-01DA265803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42" t="57010" b="17030"/>
            <a:stretch>
              <a:fillRect/>
            </a:stretch>
          </p:blipFill>
          <p:spPr>
            <a:xfrm>
              <a:off x="5853386" y="3429000"/>
              <a:ext cx="680579" cy="1438291"/>
            </a:xfrm>
            <a:custGeom>
              <a:avLst/>
              <a:gdLst>
                <a:gd name="connsiteX0" fmla="*/ 0 w 680579"/>
                <a:gd name="connsiteY0" fmla="*/ 0 h 1438291"/>
                <a:gd name="connsiteX1" fmla="*/ 478982 w 680579"/>
                <a:gd name="connsiteY1" fmla="*/ 0 h 1438291"/>
                <a:gd name="connsiteX2" fmla="*/ 680579 w 680579"/>
                <a:gd name="connsiteY2" fmla="*/ 506690 h 1438291"/>
                <a:gd name="connsiteX3" fmla="*/ 680579 w 680579"/>
                <a:gd name="connsiteY3" fmla="*/ 1438291 h 1438291"/>
                <a:gd name="connsiteX4" fmla="*/ 650395 w 680579"/>
                <a:gd name="connsiteY4" fmla="*/ 1435798 h 1438291"/>
                <a:gd name="connsiteX5" fmla="*/ 528531 w 680579"/>
                <a:gd name="connsiteY5" fmla="*/ 1428345 h 1438291"/>
                <a:gd name="connsiteX6" fmla="*/ 173424 w 680579"/>
                <a:gd name="connsiteY6" fmla="*/ 1428345 h 1438291"/>
                <a:gd name="connsiteX7" fmla="*/ 8259 w 680579"/>
                <a:gd name="connsiteY7" fmla="*/ 759517 h 143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579" h="1438291">
                  <a:moveTo>
                    <a:pt x="0" y="0"/>
                  </a:moveTo>
                  <a:lnTo>
                    <a:pt x="478982" y="0"/>
                  </a:lnTo>
                  <a:lnTo>
                    <a:pt x="680579" y="506690"/>
                  </a:lnTo>
                  <a:lnTo>
                    <a:pt x="680579" y="1438291"/>
                  </a:lnTo>
                  <a:lnTo>
                    <a:pt x="650395" y="1435798"/>
                  </a:lnTo>
                  <a:cubicBezTo>
                    <a:pt x="606467" y="1432547"/>
                    <a:pt x="565201" y="1429951"/>
                    <a:pt x="528531" y="1428345"/>
                  </a:cubicBezTo>
                  <a:cubicBezTo>
                    <a:pt x="410223" y="1423162"/>
                    <a:pt x="291794" y="1428345"/>
                    <a:pt x="173424" y="1428345"/>
                  </a:cubicBezTo>
                  <a:lnTo>
                    <a:pt x="8259" y="759517"/>
                  </a:lnTo>
                  <a:close/>
                </a:path>
              </a:pathLst>
            </a:custGeom>
            <a:ln>
              <a:noFill/>
            </a:ln>
          </p:spPr>
        </p:pic>
      </p:grpSp>
      <p:pic>
        <p:nvPicPr>
          <p:cNvPr id="2" name="car-door-opening-and-closing-62604">
            <a:hlinkClick r:id="" action="ppaction://media"/>
            <a:extLst>
              <a:ext uri="{FF2B5EF4-FFF2-40B4-BE49-F238E27FC236}">
                <a16:creationId xmlns:a16="http://schemas.microsoft.com/office/drawing/2014/main" id="{E6307CDF-E81F-5952-5090-C6371EC7D77E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5931" end="33149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2384276" y="-304800"/>
            <a:ext cx="487363" cy="487363"/>
          </a:xfrm>
          <a:prstGeom prst="rect">
            <a:avLst/>
          </a:prstGeom>
        </p:spPr>
      </p:pic>
      <p:pic>
        <p:nvPicPr>
          <p:cNvPr id="5" name="car-door-opening-and-closing-62604">
            <a:hlinkClick r:id="" action="ppaction://media"/>
            <a:extLst>
              <a:ext uri="{FF2B5EF4-FFF2-40B4-BE49-F238E27FC236}">
                <a16:creationId xmlns:a16="http://schemas.microsoft.com/office/drawing/2014/main" id="{89AEDADC-528B-1C46-20A5-1C005919EB11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1216" end="37916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912435" y="-341303"/>
            <a:ext cx="487363" cy="487363"/>
          </a:xfrm>
          <a:prstGeom prst="rect">
            <a:avLst/>
          </a:prstGeom>
        </p:spPr>
      </p:pic>
      <p:pic>
        <p:nvPicPr>
          <p:cNvPr id="20" name="car-door-opening-and-closing-62604">
            <a:hlinkClick r:id="" action="ppaction://media"/>
            <a:extLst>
              <a:ext uri="{FF2B5EF4-FFF2-40B4-BE49-F238E27FC236}">
                <a16:creationId xmlns:a16="http://schemas.microsoft.com/office/drawing/2014/main" id="{7CB3375E-7A16-9CC5-6756-4FEC4073CFE8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5931" end="33149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2536676" y="-152400"/>
            <a:ext cx="487363" cy="487363"/>
          </a:xfrm>
          <a:prstGeom prst="rect">
            <a:avLst/>
          </a:prstGeom>
        </p:spPr>
      </p:pic>
      <p:pic>
        <p:nvPicPr>
          <p:cNvPr id="21" name="car-door-opening-and-closing-62604">
            <a:hlinkClick r:id="" action="ppaction://media"/>
            <a:extLst>
              <a:ext uri="{FF2B5EF4-FFF2-40B4-BE49-F238E27FC236}">
                <a16:creationId xmlns:a16="http://schemas.microsoft.com/office/drawing/2014/main" id="{CF245CD9-4868-A2C0-C92E-6EDB30406D56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1216" end="37916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760035" y="-188903"/>
            <a:ext cx="487363" cy="487363"/>
          </a:xfrm>
          <a:prstGeom prst="rect">
            <a:avLst/>
          </a:prstGeom>
        </p:spPr>
      </p:pic>
      <p:pic>
        <p:nvPicPr>
          <p:cNvPr id="22" name="car-door-opening-and-closing-62604">
            <a:hlinkClick r:id="" action="ppaction://media"/>
            <a:extLst>
              <a:ext uri="{FF2B5EF4-FFF2-40B4-BE49-F238E27FC236}">
                <a16:creationId xmlns:a16="http://schemas.microsoft.com/office/drawing/2014/main" id="{0C1B97B8-2A07-AF80-9650-05D732326D2B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5931" end="33149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2689076" y="0"/>
            <a:ext cx="487363" cy="487363"/>
          </a:xfrm>
          <a:prstGeom prst="rect">
            <a:avLst/>
          </a:prstGeom>
        </p:spPr>
      </p:pic>
      <p:pic>
        <p:nvPicPr>
          <p:cNvPr id="23" name="car-door-opening-and-closing-62604">
            <a:hlinkClick r:id="" action="ppaction://media"/>
            <a:extLst>
              <a:ext uri="{FF2B5EF4-FFF2-40B4-BE49-F238E27FC236}">
                <a16:creationId xmlns:a16="http://schemas.microsoft.com/office/drawing/2014/main" id="{0215812B-C119-E843-E281-E6D164FF9690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1216" end="37916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607635" y="-36503"/>
            <a:ext cx="487363" cy="487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6293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restart="whenNotActive" fill="hold" evtFilter="cancelBubble" nodeType="interactiveSeq">
                    <p:stCondLst>
                      <p:cond evt="onClick" delay="0">
                        <p:tgtEl>
                          <p:spTgt spid="6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3" fill="hold">
                          <p:stCondLst>
                            <p:cond delay="0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8" presetClass="emph" presetSubtype="0" fill="hold" nodeType="click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 p14:bounceEnd="80000">
                                          <p:cBhvr>
                                            <p:cTn id="6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7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8" dur="780" fill="hold"/>
                                            <p:tgtEl>
                                              <p:spTgt spid="5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3" presetID="1" presetClass="mediacall" presetSubtype="0" fill="hold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14" dur="832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6"/>
                      </p:tgtEl>
                    </p:cond>
                  </p:nextCondLst>
                </p:seq>
                <p:seq concurrent="1" nextAc="seek">
                  <p:cTn id="15" restart="whenNotActive" fill="hold" evtFilter="cancelBubble" nodeType="interactiveSeq">
                    <p:stCondLst>
                      <p:cond evt="onClick" delay="0">
                        <p:tgtEl>
                          <p:spTgt spid="9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16" fill="hold">
                          <p:stCondLst>
                            <p:cond delay="0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8" presetClass="emph" presetSubtype="0" fill="hold" nodeType="click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 p14:bounceEnd="80000">
                                          <p:cBhvr>
                                            <p:cTn id="19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20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21" dur="780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2" fill="hold">
                          <p:stCondLst>
                            <p:cond delay="indefinite"/>
                          </p:stCondLst>
                          <p:childTnLst>
                            <p:par>
                              <p:cTn id="2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4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25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26" presetID="1" presetClass="mediacall" presetSubtype="0" fill="hold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27" dur="832" fill="hold"/>
                                            <p:tgtEl>
                                              <p:spTgt spid="20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9"/>
                      </p:tgtEl>
                    </p:cond>
                  </p:nextCondLst>
                </p:seq>
                <p:seq concurrent="1" nextAc="seek">
                  <p:cTn id="28" restart="whenNotActive" fill="hold" evtFilter="cancelBubble" nodeType="interactiveSeq">
                    <p:stCondLst>
                      <p:cond evt="onClick" delay="0">
                        <p:tgtEl>
                          <p:spTgt spid="15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29" fill="hold">
                          <p:stCondLst>
                            <p:cond delay="0"/>
                          </p:stCondLst>
                          <p:childTnLst>
                            <p:par>
                              <p:cTn id="3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1" presetID="8" presetClass="emph" presetSubtype="0" fill="hold" nodeType="click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 p14:bounceEnd="80000">
                                          <p:cBhvr>
                                            <p:cTn id="32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33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34" dur="780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3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39" presetID="1" presetClass="mediacall" presetSubtype="0" fill="hold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40" dur="832" fill="hold"/>
                                            <p:tgtEl>
                                              <p:spTgt spid="20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15"/>
                      </p:tgtEl>
                    </p:cond>
                  </p:nextCondLst>
                </p:seq>
                <p:seq concurrent="1" nextAc="seek">
                  <p:cTn id="41" restart="whenNotActive" fill="hold" evtFilter="cancelBubble" nodeType="interactiveSeq">
                    <p:stCondLst>
                      <p:cond evt="onClick" delay="0">
                        <p:tgtEl>
                          <p:spTgt spid="12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42" fill="hold">
                          <p:stCondLst>
                            <p:cond delay="0"/>
                          </p:stCondLst>
                          <p:childTnLst>
                            <p:par>
                              <p:cTn id="4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4" presetID="8" presetClass="emph" presetSubtype="0" fill="hold" nodeType="click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 p14:bounceEnd="80000">
                                          <p:cBhvr>
                                            <p:cTn id="45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46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47" dur="780" fill="hold"/>
                                            <p:tgtEl>
                                              <p:spTgt spid="23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8" fill="hold">
                          <p:stCondLst>
                            <p:cond delay="indefinite"/>
                          </p:stCondLst>
                          <p:childTnLst>
                            <p:par>
                              <p:cTn id="4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0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5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52" presetID="1" presetClass="mediacall" presetSubtype="0" fill="hold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53" dur="832" fill="hold"/>
                                            <p:tgtEl>
                                              <p:spTgt spid="2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12"/>
                      </p:tgtEl>
                    </p:cond>
                  </p:nextCondLst>
                </p:seq>
                <p:audio>
                  <p:cMediaNode vol="80000">
                    <p:cTn id="54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"/>
                    </p:tgtEl>
                  </p:cMediaNode>
                </p:audio>
                <p:audio>
                  <p:cMediaNode vol="80000">
                    <p:cTn id="55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5"/>
                    </p:tgtEl>
                  </p:cMediaNode>
                </p:audio>
                <p:audio>
                  <p:cMediaNode vol="80000">
                    <p:cTn id="56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0"/>
                    </p:tgtEl>
                  </p:cMediaNode>
                </p:audio>
                <p:audio>
                  <p:cMediaNode vol="80000">
                    <p:cTn id="57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1"/>
                    </p:tgtEl>
                  </p:cMediaNode>
                </p:audio>
                <p:audio>
                  <p:cMediaNode vol="80000">
                    <p:cTn id="58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2"/>
                    </p:tgtEl>
                  </p:cMediaNode>
                </p:audio>
                <p:audio>
                  <p:cMediaNode vol="80000">
                    <p:cTn id="59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3"/>
                    </p:tgtEl>
                  </p:cMediaNode>
                </p:audio>
              </p:childTnLst>
            </p:cTn>
          </p:par>
        </p:tn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restart="whenNotActive" fill="hold" evtFilter="cancelBubble" nodeType="interactiveSeq">
                    <p:stCondLst>
                      <p:cond evt="onClick" delay="0">
                        <p:tgtEl>
                          <p:spTgt spid="6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3" fill="hold">
                          <p:stCondLst>
                            <p:cond delay="0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6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7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8" dur="780" fill="hold"/>
                                            <p:tgtEl>
                                              <p:spTgt spid="5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1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3" presetID="1" presetClass="mediacall" presetSubtype="0" fill="hold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14" dur="832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6"/>
                      </p:tgtEl>
                    </p:cond>
                  </p:nextCondLst>
                </p:seq>
                <p:seq concurrent="1" nextAc="seek">
                  <p:cTn id="15" restart="whenNotActive" fill="hold" evtFilter="cancelBubble" nodeType="interactiveSeq">
                    <p:stCondLst>
                      <p:cond evt="onClick" delay="0">
                        <p:tgtEl>
                          <p:spTgt spid="9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16" fill="hold">
                          <p:stCondLst>
                            <p:cond delay="0"/>
                          </p:stCondLst>
                          <p:childTnLst>
                            <p:par>
                              <p:cTn id="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8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19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20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21" dur="780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2" fill="hold">
                          <p:stCondLst>
                            <p:cond delay="indefinite"/>
                          </p:stCondLst>
                          <p:childTnLst>
                            <p:par>
                              <p:cTn id="2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4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25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26" presetID="1" presetClass="mediacall" presetSubtype="0" fill="hold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27" dur="832" fill="hold"/>
                                            <p:tgtEl>
                                              <p:spTgt spid="20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9"/>
                      </p:tgtEl>
                    </p:cond>
                  </p:nextCondLst>
                </p:seq>
                <p:seq concurrent="1" nextAc="seek">
                  <p:cTn id="28" restart="whenNotActive" fill="hold" evtFilter="cancelBubble" nodeType="interactiveSeq">
                    <p:stCondLst>
                      <p:cond evt="onClick" delay="0">
                        <p:tgtEl>
                          <p:spTgt spid="15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29" fill="hold">
                          <p:stCondLst>
                            <p:cond delay="0"/>
                          </p:stCondLst>
                          <p:childTnLst>
                            <p:par>
                              <p:cTn id="3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1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32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33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34" dur="780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5" fill="hold">
                          <p:stCondLst>
                            <p:cond delay="indefinite"/>
                          </p:stCondLst>
                          <p:childTnLst>
                            <p:par>
                              <p:cTn id="3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7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3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39" presetID="1" presetClass="mediacall" presetSubtype="0" fill="hold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40" dur="832" fill="hold"/>
                                            <p:tgtEl>
                                              <p:spTgt spid="20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15"/>
                      </p:tgtEl>
                    </p:cond>
                  </p:nextCondLst>
                </p:seq>
                <p:seq concurrent="1" nextAc="seek">
                  <p:cTn id="41" restart="whenNotActive" fill="hold" evtFilter="cancelBubble" nodeType="interactiveSeq">
                    <p:stCondLst>
                      <p:cond evt="onClick" delay="0">
                        <p:tgtEl>
                          <p:spTgt spid="12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42" fill="hold">
                          <p:stCondLst>
                            <p:cond delay="0"/>
                          </p:stCondLst>
                          <p:childTnLst>
                            <p:par>
                              <p:cTn id="4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4" presetID="8" presetClass="emph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5400000">
                                          <p:cBhvr>
                                            <p:cTn id="45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46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47" dur="780" fill="hold"/>
                                            <p:tgtEl>
                                              <p:spTgt spid="23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8" fill="hold">
                          <p:stCondLst>
                            <p:cond delay="indefinite"/>
                          </p:stCondLst>
                          <p:childTnLst>
                            <p:par>
                              <p:cTn id="4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0" presetID="8" presetClass="emph" presetSubtype="0" accel="50000" de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5400000">
                                          <p:cBhvr>
                                            <p:cTn id="51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52" presetID="1" presetClass="mediacall" presetSubtype="0" fill="hold" nodeType="withEffect">
                                      <p:stCondLst>
                                        <p:cond delay="15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53" dur="832" fill="hold"/>
                                            <p:tgtEl>
                                              <p:spTgt spid="2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12"/>
                      </p:tgtEl>
                    </p:cond>
                  </p:nextCondLst>
                </p:seq>
                <p:audio>
                  <p:cMediaNode vol="80000">
                    <p:cTn id="54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"/>
                    </p:tgtEl>
                  </p:cMediaNode>
                </p:audio>
                <p:audio>
                  <p:cMediaNode vol="80000">
                    <p:cTn id="55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5"/>
                    </p:tgtEl>
                  </p:cMediaNode>
                </p:audio>
                <p:audio>
                  <p:cMediaNode vol="80000">
                    <p:cTn id="56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0"/>
                    </p:tgtEl>
                  </p:cMediaNode>
                </p:audio>
                <p:audio>
                  <p:cMediaNode vol="80000">
                    <p:cTn id="57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1"/>
                    </p:tgtEl>
                  </p:cMediaNode>
                </p:audio>
                <p:audio>
                  <p:cMediaNode vol="80000">
                    <p:cTn id="58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2"/>
                    </p:tgtEl>
                  </p:cMediaNode>
                </p:audio>
                <p:audio>
                  <p:cMediaNode vol="80000">
                    <p:cTn id="59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3"/>
                    </p:tgtEl>
                  </p:cMediaNode>
                </p:audio>
              </p:childTnLst>
            </p:cTn>
          </p:par>
        </p:tn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yellow taxi car with black and white stripes&#10;&#10;Description automatically generated">
            <a:extLst>
              <a:ext uri="{FF2B5EF4-FFF2-40B4-BE49-F238E27FC236}">
                <a16:creationId xmlns:a16="http://schemas.microsoft.com/office/drawing/2014/main" id="{E6A5E80F-D52F-A5EB-8252-109E0CF317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1534" y="658761"/>
            <a:ext cx="2828932" cy="5540478"/>
          </a:xfrm>
          <a:prstGeom prst="rect">
            <a:avLst/>
          </a:prstGeom>
        </p:spPr>
      </p:pic>
      <p:pic>
        <p:nvPicPr>
          <p:cNvPr id="2" name="mustang-3-33305">
            <a:hlinkClick r:id="" action="ppaction://media"/>
            <a:extLst>
              <a:ext uri="{FF2B5EF4-FFF2-40B4-BE49-F238E27FC236}">
                <a16:creationId xmlns:a16="http://schemas.microsoft.com/office/drawing/2014/main" id="{3DA5754F-462B-5D52-E231-A0C906B2D57C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end="13775.3125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1546" y="-1453977"/>
            <a:ext cx="487363" cy="487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9050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9194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597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336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yellow taxi car with black and white stripes&#10;&#10;Description automatically generated">
            <a:extLst>
              <a:ext uri="{FF2B5EF4-FFF2-40B4-BE49-F238E27FC236}">
                <a16:creationId xmlns:a16="http://schemas.microsoft.com/office/drawing/2014/main" id="{E6A5E80F-D52F-A5EB-8252-109E0CF317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1534" y="6858000"/>
            <a:ext cx="2828932" cy="5540478"/>
          </a:xfrm>
          <a:prstGeom prst="rect">
            <a:avLst/>
          </a:prstGeom>
        </p:spPr>
      </p:pic>
      <p:pic>
        <p:nvPicPr>
          <p:cNvPr id="2" name="mustang-3-33305">
            <a:hlinkClick r:id="" action="ppaction://media"/>
            <a:extLst>
              <a:ext uri="{FF2B5EF4-FFF2-40B4-BE49-F238E27FC236}">
                <a16:creationId xmlns:a16="http://schemas.microsoft.com/office/drawing/2014/main" id="{3DA5754F-462B-5D52-E231-A0C906B2D57C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end="13775.3125"/>
                </p14:media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1546" y="-1453977"/>
            <a:ext cx="487363" cy="487363"/>
          </a:xfrm>
          <a:prstGeom prst="rect">
            <a:avLst/>
          </a:prstGeom>
        </p:spPr>
      </p:pic>
      <p:pic>
        <p:nvPicPr>
          <p:cNvPr id="3" name="mustang-4-75146">
            <a:hlinkClick r:id="" action="ppaction://media"/>
            <a:extLst>
              <a:ext uri="{FF2B5EF4-FFF2-40B4-BE49-F238E27FC236}">
                <a16:creationId xmlns:a16="http://schemas.microsoft.com/office/drawing/2014/main" id="{1B4B19CD-C570-6349-5022-E651548B1834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3">
                  <p14:trim st="19762" end="6369.4375"/>
                </p14:media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0351336" y="-966614"/>
            <a:ext cx="487363" cy="487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1576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4" presetClass="path" presetSubtype="0" accel="50000" fill="hold" nodeType="click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4.79167E-6 4.81481E-6 L 4.79167E-6 -0.91945 " pathEditMode="relative" rAng="0" ptsTypes="AA" p14:bounceEnd="40000">
                                          <p:cBhvr>
                                            <p:cTn id="6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4597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8" dur="2551" fill="hold"/>
                                            <p:tgtEl>
                                              <p:spTgt spid="3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>
                    <p:cTn id="9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"/>
                    </p:tgtEl>
                  </p:cMediaNode>
                </p:audio>
                <p:audio>
                  <p:cMediaNode vol="80000">
                    <p:cTn id="10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3"/>
                    </p:tgtEl>
                  </p:cMediaNode>
                </p:audio>
              </p:childTnLst>
            </p:cTn>
          </p:par>
        </p:tn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4" presetClass="path" presetSubtype="0" accel="5000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4.79167E-6 4.81481E-6 L 4.79167E-6 -0.91945 " pathEditMode="relative" rAng="0" ptsTypes="AA">
                                          <p:cBhvr>
                                            <p:cTn id="6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4597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8" dur="2551" fill="hold"/>
                                            <p:tgtEl>
                                              <p:spTgt spid="3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>
                    <p:cTn id="9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2"/>
                    </p:tgtEl>
                  </p:cMediaNode>
                </p:audio>
                <p:audio>
                  <p:cMediaNode vol="80000">
                    <p:cTn id="10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3"/>
                    </p:tgtEl>
                  </p:cMediaNode>
                </p:audio>
              </p:childTnLst>
            </p:cTn>
          </p:par>
        </p:tn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</TotalTime>
  <Words>39</Words>
  <Application>Microsoft Office PowerPoint</Application>
  <PresentationFormat>Widescreen</PresentationFormat>
  <Paragraphs>5</Paragraphs>
  <Slides>8</Slides>
  <Notes>0</Notes>
  <HiddenSlides>0</HiddenSlides>
  <MMClips>9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ptos</vt:lpstr>
      <vt:lpstr>Aptos Display</vt:lpstr>
      <vt:lpstr>Arial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KSON A/L RAJA SINGAM</dc:creator>
  <cp:lastModifiedBy>JACKSON A/L RAJA SINGAM</cp:lastModifiedBy>
  <cp:revision>1</cp:revision>
  <dcterms:created xsi:type="dcterms:W3CDTF">2024-10-11T15:57:51Z</dcterms:created>
  <dcterms:modified xsi:type="dcterms:W3CDTF">2024-10-11T17:08:24Z</dcterms:modified>
</cp:coreProperties>
</file>